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8" r:id="rId4"/>
    <p:sldId id="257" r:id="rId5"/>
    <p:sldId id="259" r:id="rId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4AA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-1098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/>
            </a:lvl1pPr>
            <a:lvl2pPr marL="457151" indent="0" algn="ctr">
              <a:buNone/>
              <a:defRPr/>
            </a:lvl2pPr>
            <a:lvl3pPr marL="914302" indent="0" algn="ctr">
              <a:buNone/>
              <a:defRPr/>
            </a:lvl3pPr>
            <a:lvl4pPr marL="1371453" indent="0" algn="ctr">
              <a:buNone/>
              <a:defRPr/>
            </a:lvl4pPr>
            <a:lvl5pPr marL="1828604" indent="0" algn="ctr">
              <a:buNone/>
              <a:defRPr/>
            </a:lvl5pPr>
            <a:lvl6pPr marL="2285755" indent="0" algn="ctr">
              <a:buNone/>
              <a:defRPr/>
            </a:lvl6pPr>
            <a:lvl7pPr marL="2742906" indent="0" algn="ctr">
              <a:buNone/>
              <a:defRPr/>
            </a:lvl7pPr>
            <a:lvl8pPr marL="3200057" indent="0" algn="ctr">
              <a:buNone/>
              <a:defRPr/>
            </a:lvl8pPr>
            <a:lvl9pPr marL="365720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58026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lIns="91430" tIns="45715" rIns="91430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075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lIns="91430" tIns="45715" rIns="91430" bIns="45715"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</p:spPr>
        <p:txBody>
          <a:bodyPr lIns="91430" tIns="45715" rIns="91430" bIns="45715" anchor="b"/>
          <a:lstStyle>
            <a:lvl1pPr marL="0" indent="0">
              <a:buNone/>
              <a:defRPr sz="2000"/>
            </a:lvl1pPr>
            <a:lvl2pPr marL="457151" indent="0">
              <a:buNone/>
              <a:defRPr sz="1800"/>
            </a:lvl2pPr>
            <a:lvl3pPr marL="914302" indent="0">
              <a:buNone/>
              <a:defRPr sz="1600"/>
            </a:lvl3pPr>
            <a:lvl4pPr marL="1371453" indent="0">
              <a:buNone/>
              <a:defRPr sz="1400"/>
            </a:lvl4pPr>
            <a:lvl5pPr marL="1828604" indent="0">
              <a:buNone/>
              <a:defRPr sz="1400"/>
            </a:lvl5pPr>
            <a:lvl6pPr marL="2285755" indent="0">
              <a:buNone/>
              <a:defRPr sz="1400"/>
            </a:lvl6pPr>
            <a:lvl7pPr marL="2742906" indent="0">
              <a:buNone/>
              <a:defRPr sz="1400"/>
            </a:lvl7pPr>
            <a:lvl8pPr marL="3200057" indent="0">
              <a:buNone/>
              <a:defRPr sz="1400"/>
            </a:lvl8pPr>
            <a:lvl9pPr marL="365720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264843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920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</p:spPr>
        <p:txBody>
          <a:bodyPr lIns="91430" tIns="45715" rIns="91430" bIns="45715"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2" indent="0">
              <a:buNone/>
              <a:defRPr sz="1800" b="1"/>
            </a:lvl3pPr>
            <a:lvl4pPr marL="1371453" indent="0">
              <a:buNone/>
              <a:defRPr sz="1600" b="1"/>
            </a:lvl4pPr>
            <a:lvl5pPr marL="1828604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6" indent="0">
              <a:buNone/>
              <a:defRPr sz="1600" b="1"/>
            </a:lvl7pPr>
            <a:lvl8pPr marL="3200057" indent="0">
              <a:buNone/>
              <a:defRPr sz="1600" b="1"/>
            </a:lvl8pPr>
            <a:lvl9pPr marL="365720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</p:spPr>
        <p:txBody>
          <a:bodyPr lIns="91430" tIns="45715" rIns="91430" bIns="45715" anchor="b"/>
          <a:lstStyle>
            <a:lvl1pPr marL="0" indent="0">
              <a:buNone/>
              <a:defRPr sz="2400" b="1"/>
            </a:lvl1pPr>
            <a:lvl2pPr marL="457151" indent="0">
              <a:buNone/>
              <a:defRPr sz="2000" b="1"/>
            </a:lvl2pPr>
            <a:lvl3pPr marL="914302" indent="0">
              <a:buNone/>
              <a:defRPr sz="1800" b="1"/>
            </a:lvl3pPr>
            <a:lvl4pPr marL="1371453" indent="0">
              <a:buNone/>
              <a:defRPr sz="1600" b="1"/>
            </a:lvl4pPr>
            <a:lvl5pPr marL="1828604" indent="0">
              <a:buNone/>
              <a:defRPr sz="1600" b="1"/>
            </a:lvl5pPr>
            <a:lvl6pPr marL="2285755" indent="0">
              <a:buNone/>
              <a:defRPr sz="1600" b="1"/>
            </a:lvl6pPr>
            <a:lvl7pPr marL="2742906" indent="0">
              <a:buNone/>
              <a:defRPr sz="1600" b="1"/>
            </a:lvl7pPr>
            <a:lvl8pPr marL="3200057" indent="0">
              <a:buNone/>
              <a:defRPr sz="1600" b="1"/>
            </a:lvl8pPr>
            <a:lvl9pPr marL="365720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026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959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29913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lIns="91430" tIns="45715" rIns="91430" bIns="45715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2" indent="0">
              <a:buNone/>
              <a:defRPr sz="1000"/>
            </a:lvl3pPr>
            <a:lvl4pPr marL="1371453" indent="0">
              <a:buNone/>
              <a:defRPr sz="900"/>
            </a:lvl4pPr>
            <a:lvl5pPr marL="1828604" indent="0">
              <a:buNone/>
              <a:defRPr sz="900"/>
            </a:lvl5pPr>
            <a:lvl6pPr marL="2285755" indent="0">
              <a:buNone/>
              <a:defRPr sz="900"/>
            </a:lvl6pPr>
            <a:lvl7pPr marL="2742906" indent="0">
              <a:buNone/>
              <a:defRPr sz="900"/>
            </a:lvl7pPr>
            <a:lvl8pPr marL="3200057" indent="0">
              <a:buNone/>
              <a:defRPr sz="900"/>
            </a:lvl8pPr>
            <a:lvl9pPr marL="365720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34075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430" tIns="45715" rIns="91430" bIns="45715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2" indent="0">
              <a:buNone/>
              <a:defRPr sz="2400"/>
            </a:lvl3pPr>
            <a:lvl4pPr marL="1371453" indent="0">
              <a:buNone/>
              <a:defRPr sz="2000"/>
            </a:lvl4pPr>
            <a:lvl5pPr marL="1828604" indent="0">
              <a:buNone/>
              <a:defRPr sz="2000"/>
            </a:lvl5pPr>
            <a:lvl6pPr marL="2285755" indent="0">
              <a:buNone/>
              <a:defRPr sz="2000"/>
            </a:lvl6pPr>
            <a:lvl7pPr marL="2742906" indent="0">
              <a:buNone/>
              <a:defRPr sz="2000"/>
            </a:lvl7pPr>
            <a:lvl8pPr marL="3200057" indent="0">
              <a:buNone/>
              <a:defRPr sz="2000"/>
            </a:lvl8pPr>
            <a:lvl9pPr marL="3657208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2" indent="0">
              <a:buNone/>
              <a:defRPr sz="1000"/>
            </a:lvl3pPr>
            <a:lvl4pPr marL="1371453" indent="0">
              <a:buNone/>
              <a:defRPr sz="900"/>
            </a:lvl4pPr>
            <a:lvl5pPr marL="1828604" indent="0">
              <a:buNone/>
              <a:defRPr sz="900"/>
            </a:lvl5pPr>
            <a:lvl6pPr marL="2285755" indent="0">
              <a:buNone/>
              <a:defRPr sz="900"/>
            </a:lvl6pPr>
            <a:lvl7pPr marL="2742906" indent="0">
              <a:buNone/>
              <a:defRPr sz="900"/>
            </a:lvl7pPr>
            <a:lvl8pPr marL="3200057" indent="0">
              <a:buNone/>
              <a:defRPr sz="900"/>
            </a:lvl8pPr>
            <a:lvl9pPr marL="365720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76700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 lIns="91430" tIns="45715" rIns="91430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6556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 lIns="91430" tIns="45715" rIns="91430" bIns="4571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  <a:prstGeom prst="rect">
            <a:avLst/>
          </a:prstGeom>
        </p:spPr>
        <p:txBody>
          <a:bodyPr vert="eaVert" lIns="91430" tIns="45715" rIns="91430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9427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 lIns="91430" tIns="45715" rIns="91430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698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0" y="1"/>
            <a:ext cx="9144000" cy="765175"/>
          </a:xfrm>
          <a:prstGeom prst="rect">
            <a:avLst/>
          </a:prstGeom>
          <a:solidFill>
            <a:srgbClr val="D4E1F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3" name="AutoShape 9"/>
          <p:cNvSpPr>
            <a:spLocks noChangeAspect="1" noChangeArrowheads="1" noTextEdit="1"/>
          </p:cNvSpPr>
          <p:nvPr userDrawn="1"/>
        </p:nvSpPr>
        <p:spPr bwMode="auto">
          <a:xfrm>
            <a:off x="6516688" y="573088"/>
            <a:ext cx="2101850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5" name="Freeform 11"/>
          <p:cNvSpPr>
            <a:spLocks noEditPoints="1"/>
          </p:cNvSpPr>
          <p:nvPr userDrawn="1"/>
        </p:nvSpPr>
        <p:spPr bwMode="auto">
          <a:xfrm>
            <a:off x="7131051" y="765175"/>
            <a:ext cx="271463" cy="382588"/>
          </a:xfrm>
          <a:custGeom>
            <a:avLst/>
            <a:gdLst/>
            <a:ahLst/>
            <a:cxnLst>
              <a:cxn ang="0">
                <a:pos x="1189" y="1819"/>
              </a:cxn>
              <a:cxn ang="0">
                <a:pos x="1270" y="1842"/>
              </a:cxn>
              <a:cxn ang="0">
                <a:pos x="1343" y="1890"/>
              </a:cxn>
              <a:cxn ang="0">
                <a:pos x="1392" y="1956"/>
              </a:cxn>
              <a:cxn ang="0">
                <a:pos x="1426" y="2042"/>
              </a:cxn>
              <a:cxn ang="0">
                <a:pos x="1441" y="2140"/>
              </a:cxn>
              <a:cxn ang="0">
                <a:pos x="1437" y="2228"/>
              </a:cxn>
              <a:cxn ang="0">
                <a:pos x="1417" y="2308"/>
              </a:cxn>
              <a:cxn ang="0">
                <a:pos x="1384" y="2382"/>
              </a:cxn>
              <a:cxn ang="0">
                <a:pos x="1323" y="2459"/>
              </a:cxn>
              <a:cxn ang="0">
                <a:pos x="1243" y="2511"/>
              </a:cxn>
              <a:cxn ang="0">
                <a:pos x="1149" y="2533"/>
              </a:cxn>
              <a:cxn ang="0">
                <a:pos x="706" y="1813"/>
              </a:cxn>
              <a:cxn ang="0">
                <a:pos x="1075" y="618"/>
              </a:cxn>
              <a:cxn ang="0">
                <a:pos x="1201" y="640"/>
              </a:cxn>
              <a:cxn ang="0">
                <a:pos x="1278" y="678"/>
              </a:cxn>
              <a:cxn ang="0">
                <a:pos x="1338" y="749"/>
              </a:cxn>
              <a:cxn ang="0">
                <a:pos x="1370" y="845"/>
              </a:cxn>
              <a:cxn ang="0">
                <a:pos x="1374" y="942"/>
              </a:cxn>
              <a:cxn ang="0">
                <a:pos x="1360" y="1018"/>
              </a:cxn>
              <a:cxn ang="0">
                <a:pos x="1333" y="1085"/>
              </a:cxn>
              <a:cxn ang="0">
                <a:pos x="1289" y="1141"/>
              </a:cxn>
              <a:cxn ang="0">
                <a:pos x="1218" y="1188"/>
              </a:cxn>
              <a:cxn ang="0">
                <a:pos x="1140" y="1207"/>
              </a:cxn>
              <a:cxn ang="0">
                <a:pos x="698" y="616"/>
              </a:cxn>
              <a:cxn ang="0">
                <a:pos x="1260" y="3132"/>
              </a:cxn>
              <a:cxn ang="0">
                <a:pos x="1519" y="3107"/>
              </a:cxn>
              <a:cxn ang="0">
                <a:pos x="1744" y="3033"/>
              </a:cxn>
              <a:cxn ang="0">
                <a:pos x="1930" y="2916"/>
              </a:cxn>
              <a:cxn ang="0">
                <a:pos x="2074" y="2758"/>
              </a:cxn>
              <a:cxn ang="0">
                <a:pos x="2172" y="2563"/>
              </a:cxn>
              <a:cxn ang="0">
                <a:pos x="2221" y="2335"/>
              </a:cxn>
              <a:cxn ang="0">
                <a:pos x="2219" y="2113"/>
              </a:cxn>
              <a:cxn ang="0">
                <a:pos x="2199" y="2001"/>
              </a:cxn>
              <a:cxn ang="0">
                <a:pos x="2166" y="1898"/>
              </a:cxn>
              <a:cxn ang="0">
                <a:pos x="2118" y="1804"/>
              </a:cxn>
              <a:cxn ang="0">
                <a:pos x="2056" y="1716"/>
              </a:cxn>
              <a:cxn ang="0">
                <a:pos x="1978" y="1634"/>
              </a:cxn>
              <a:cxn ang="0">
                <a:pos x="1859" y="1542"/>
              </a:cxn>
              <a:cxn ang="0">
                <a:pos x="1710" y="1467"/>
              </a:cxn>
              <a:cxn ang="0">
                <a:pos x="1825" y="1400"/>
              </a:cxn>
              <a:cxn ang="0">
                <a:pos x="1939" y="1297"/>
              </a:cxn>
              <a:cxn ang="0">
                <a:pos x="2037" y="1145"/>
              </a:cxn>
              <a:cxn ang="0">
                <a:pos x="2094" y="966"/>
              </a:cxn>
              <a:cxn ang="0">
                <a:pos x="2107" y="765"/>
              </a:cxn>
              <a:cxn ang="0">
                <a:pos x="2071" y="565"/>
              </a:cxn>
              <a:cxn ang="0">
                <a:pos x="1986" y="389"/>
              </a:cxn>
              <a:cxn ang="0">
                <a:pos x="1850" y="229"/>
              </a:cxn>
              <a:cxn ang="0">
                <a:pos x="1747" y="150"/>
              </a:cxn>
              <a:cxn ang="0">
                <a:pos x="1640" y="91"/>
              </a:cxn>
              <a:cxn ang="0">
                <a:pos x="1525" y="49"/>
              </a:cxn>
              <a:cxn ang="0">
                <a:pos x="1402" y="21"/>
              </a:cxn>
              <a:cxn ang="0">
                <a:pos x="1129" y="0"/>
              </a:cxn>
            </a:cxnLst>
            <a:rect l="0" t="0" r="r" b="b"/>
            <a:pathLst>
              <a:path w="2225" h="3132">
                <a:moveTo>
                  <a:pt x="1086" y="1813"/>
                </a:moveTo>
                <a:lnTo>
                  <a:pt x="1120" y="1813"/>
                </a:lnTo>
                <a:lnTo>
                  <a:pt x="1155" y="1815"/>
                </a:lnTo>
                <a:lnTo>
                  <a:pt x="1172" y="1817"/>
                </a:lnTo>
                <a:lnTo>
                  <a:pt x="1189" y="1819"/>
                </a:lnTo>
                <a:lnTo>
                  <a:pt x="1205" y="1823"/>
                </a:lnTo>
                <a:lnTo>
                  <a:pt x="1222" y="1826"/>
                </a:lnTo>
                <a:lnTo>
                  <a:pt x="1239" y="1830"/>
                </a:lnTo>
                <a:lnTo>
                  <a:pt x="1255" y="1835"/>
                </a:lnTo>
                <a:lnTo>
                  <a:pt x="1270" y="1842"/>
                </a:lnTo>
                <a:lnTo>
                  <a:pt x="1286" y="1849"/>
                </a:lnTo>
                <a:lnTo>
                  <a:pt x="1301" y="1858"/>
                </a:lnTo>
                <a:lnTo>
                  <a:pt x="1315" y="1868"/>
                </a:lnTo>
                <a:lnTo>
                  <a:pt x="1330" y="1879"/>
                </a:lnTo>
                <a:lnTo>
                  <a:pt x="1343" y="1890"/>
                </a:lnTo>
                <a:lnTo>
                  <a:pt x="1354" y="1901"/>
                </a:lnTo>
                <a:lnTo>
                  <a:pt x="1364" y="1914"/>
                </a:lnTo>
                <a:lnTo>
                  <a:pt x="1374" y="1927"/>
                </a:lnTo>
                <a:lnTo>
                  <a:pt x="1384" y="1941"/>
                </a:lnTo>
                <a:lnTo>
                  <a:pt x="1392" y="1956"/>
                </a:lnTo>
                <a:lnTo>
                  <a:pt x="1400" y="1972"/>
                </a:lnTo>
                <a:lnTo>
                  <a:pt x="1408" y="1988"/>
                </a:lnTo>
                <a:lnTo>
                  <a:pt x="1414" y="2006"/>
                </a:lnTo>
                <a:lnTo>
                  <a:pt x="1420" y="2024"/>
                </a:lnTo>
                <a:lnTo>
                  <a:pt x="1426" y="2042"/>
                </a:lnTo>
                <a:lnTo>
                  <a:pt x="1430" y="2062"/>
                </a:lnTo>
                <a:lnTo>
                  <a:pt x="1434" y="2081"/>
                </a:lnTo>
                <a:lnTo>
                  <a:pt x="1438" y="2100"/>
                </a:lnTo>
                <a:lnTo>
                  <a:pt x="1440" y="2121"/>
                </a:lnTo>
                <a:lnTo>
                  <a:pt x="1441" y="2140"/>
                </a:lnTo>
                <a:lnTo>
                  <a:pt x="1441" y="2161"/>
                </a:lnTo>
                <a:lnTo>
                  <a:pt x="1441" y="2178"/>
                </a:lnTo>
                <a:lnTo>
                  <a:pt x="1440" y="2194"/>
                </a:lnTo>
                <a:lnTo>
                  <a:pt x="1439" y="2211"/>
                </a:lnTo>
                <a:lnTo>
                  <a:pt x="1437" y="2228"/>
                </a:lnTo>
                <a:lnTo>
                  <a:pt x="1433" y="2245"/>
                </a:lnTo>
                <a:lnTo>
                  <a:pt x="1430" y="2261"/>
                </a:lnTo>
                <a:lnTo>
                  <a:pt x="1426" y="2277"/>
                </a:lnTo>
                <a:lnTo>
                  <a:pt x="1422" y="2293"/>
                </a:lnTo>
                <a:lnTo>
                  <a:pt x="1417" y="2308"/>
                </a:lnTo>
                <a:lnTo>
                  <a:pt x="1412" y="2325"/>
                </a:lnTo>
                <a:lnTo>
                  <a:pt x="1405" y="2339"/>
                </a:lnTo>
                <a:lnTo>
                  <a:pt x="1399" y="2354"/>
                </a:lnTo>
                <a:lnTo>
                  <a:pt x="1391" y="2368"/>
                </a:lnTo>
                <a:lnTo>
                  <a:pt x="1384" y="2382"/>
                </a:lnTo>
                <a:lnTo>
                  <a:pt x="1376" y="2395"/>
                </a:lnTo>
                <a:lnTo>
                  <a:pt x="1368" y="2408"/>
                </a:lnTo>
                <a:lnTo>
                  <a:pt x="1353" y="2427"/>
                </a:lnTo>
                <a:lnTo>
                  <a:pt x="1338" y="2444"/>
                </a:lnTo>
                <a:lnTo>
                  <a:pt x="1323" y="2459"/>
                </a:lnTo>
                <a:lnTo>
                  <a:pt x="1307" y="2472"/>
                </a:lnTo>
                <a:lnTo>
                  <a:pt x="1292" y="2484"/>
                </a:lnTo>
                <a:lnTo>
                  <a:pt x="1276" y="2495"/>
                </a:lnTo>
                <a:lnTo>
                  <a:pt x="1259" y="2503"/>
                </a:lnTo>
                <a:lnTo>
                  <a:pt x="1243" y="2511"/>
                </a:lnTo>
                <a:lnTo>
                  <a:pt x="1225" y="2517"/>
                </a:lnTo>
                <a:lnTo>
                  <a:pt x="1207" y="2523"/>
                </a:lnTo>
                <a:lnTo>
                  <a:pt x="1189" y="2527"/>
                </a:lnTo>
                <a:lnTo>
                  <a:pt x="1170" y="2530"/>
                </a:lnTo>
                <a:lnTo>
                  <a:pt x="1149" y="2533"/>
                </a:lnTo>
                <a:lnTo>
                  <a:pt x="1129" y="2534"/>
                </a:lnTo>
                <a:lnTo>
                  <a:pt x="1108" y="2535"/>
                </a:lnTo>
                <a:lnTo>
                  <a:pt x="1086" y="2535"/>
                </a:lnTo>
                <a:lnTo>
                  <a:pt x="706" y="2535"/>
                </a:lnTo>
                <a:lnTo>
                  <a:pt x="706" y="1813"/>
                </a:lnTo>
                <a:lnTo>
                  <a:pt x="1086" y="1813"/>
                </a:lnTo>
                <a:close/>
                <a:moveTo>
                  <a:pt x="1000" y="616"/>
                </a:moveTo>
                <a:lnTo>
                  <a:pt x="1021" y="616"/>
                </a:lnTo>
                <a:lnTo>
                  <a:pt x="1047" y="616"/>
                </a:lnTo>
                <a:lnTo>
                  <a:pt x="1075" y="618"/>
                </a:lnTo>
                <a:lnTo>
                  <a:pt x="1105" y="620"/>
                </a:lnTo>
                <a:lnTo>
                  <a:pt x="1136" y="624"/>
                </a:lnTo>
                <a:lnTo>
                  <a:pt x="1169" y="631"/>
                </a:lnTo>
                <a:lnTo>
                  <a:pt x="1185" y="635"/>
                </a:lnTo>
                <a:lnTo>
                  <a:pt x="1201" y="640"/>
                </a:lnTo>
                <a:lnTo>
                  <a:pt x="1217" y="645"/>
                </a:lnTo>
                <a:lnTo>
                  <a:pt x="1232" y="651"/>
                </a:lnTo>
                <a:lnTo>
                  <a:pt x="1248" y="659"/>
                </a:lnTo>
                <a:lnTo>
                  <a:pt x="1263" y="669"/>
                </a:lnTo>
                <a:lnTo>
                  <a:pt x="1278" y="678"/>
                </a:lnTo>
                <a:lnTo>
                  <a:pt x="1292" y="690"/>
                </a:lnTo>
                <a:lnTo>
                  <a:pt x="1304" y="703"/>
                </a:lnTo>
                <a:lnTo>
                  <a:pt x="1316" y="718"/>
                </a:lnTo>
                <a:lnTo>
                  <a:pt x="1328" y="733"/>
                </a:lnTo>
                <a:lnTo>
                  <a:pt x="1338" y="749"/>
                </a:lnTo>
                <a:lnTo>
                  <a:pt x="1346" y="767"/>
                </a:lnTo>
                <a:lnTo>
                  <a:pt x="1354" y="785"/>
                </a:lnTo>
                <a:lnTo>
                  <a:pt x="1360" y="804"/>
                </a:lnTo>
                <a:lnTo>
                  <a:pt x="1366" y="824"/>
                </a:lnTo>
                <a:lnTo>
                  <a:pt x="1370" y="845"/>
                </a:lnTo>
                <a:lnTo>
                  <a:pt x="1373" y="867"/>
                </a:lnTo>
                <a:lnTo>
                  <a:pt x="1375" y="888"/>
                </a:lnTo>
                <a:lnTo>
                  <a:pt x="1376" y="911"/>
                </a:lnTo>
                <a:lnTo>
                  <a:pt x="1375" y="927"/>
                </a:lnTo>
                <a:lnTo>
                  <a:pt x="1374" y="942"/>
                </a:lnTo>
                <a:lnTo>
                  <a:pt x="1373" y="958"/>
                </a:lnTo>
                <a:lnTo>
                  <a:pt x="1371" y="974"/>
                </a:lnTo>
                <a:lnTo>
                  <a:pt x="1368" y="989"/>
                </a:lnTo>
                <a:lnTo>
                  <a:pt x="1364" y="1004"/>
                </a:lnTo>
                <a:lnTo>
                  <a:pt x="1360" y="1018"/>
                </a:lnTo>
                <a:lnTo>
                  <a:pt x="1356" y="1032"/>
                </a:lnTo>
                <a:lnTo>
                  <a:pt x="1351" y="1046"/>
                </a:lnTo>
                <a:lnTo>
                  <a:pt x="1345" y="1059"/>
                </a:lnTo>
                <a:lnTo>
                  <a:pt x="1340" y="1072"/>
                </a:lnTo>
                <a:lnTo>
                  <a:pt x="1333" y="1085"/>
                </a:lnTo>
                <a:lnTo>
                  <a:pt x="1326" y="1096"/>
                </a:lnTo>
                <a:lnTo>
                  <a:pt x="1318" y="1107"/>
                </a:lnTo>
                <a:lnTo>
                  <a:pt x="1311" y="1117"/>
                </a:lnTo>
                <a:lnTo>
                  <a:pt x="1302" y="1127"/>
                </a:lnTo>
                <a:lnTo>
                  <a:pt x="1289" y="1141"/>
                </a:lnTo>
                <a:lnTo>
                  <a:pt x="1275" y="1153"/>
                </a:lnTo>
                <a:lnTo>
                  <a:pt x="1261" y="1164"/>
                </a:lnTo>
                <a:lnTo>
                  <a:pt x="1247" y="1173"/>
                </a:lnTo>
                <a:lnTo>
                  <a:pt x="1232" y="1181"/>
                </a:lnTo>
                <a:lnTo>
                  <a:pt x="1218" y="1188"/>
                </a:lnTo>
                <a:lnTo>
                  <a:pt x="1203" y="1194"/>
                </a:lnTo>
                <a:lnTo>
                  <a:pt x="1187" y="1199"/>
                </a:lnTo>
                <a:lnTo>
                  <a:pt x="1172" y="1203"/>
                </a:lnTo>
                <a:lnTo>
                  <a:pt x="1156" y="1205"/>
                </a:lnTo>
                <a:lnTo>
                  <a:pt x="1140" y="1207"/>
                </a:lnTo>
                <a:lnTo>
                  <a:pt x="1124" y="1209"/>
                </a:lnTo>
                <a:lnTo>
                  <a:pt x="1090" y="1212"/>
                </a:lnTo>
                <a:lnTo>
                  <a:pt x="1056" y="1212"/>
                </a:lnTo>
                <a:lnTo>
                  <a:pt x="698" y="1212"/>
                </a:lnTo>
                <a:lnTo>
                  <a:pt x="698" y="616"/>
                </a:lnTo>
                <a:lnTo>
                  <a:pt x="1000" y="616"/>
                </a:lnTo>
                <a:close/>
                <a:moveTo>
                  <a:pt x="49" y="0"/>
                </a:moveTo>
                <a:lnTo>
                  <a:pt x="0" y="0"/>
                </a:lnTo>
                <a:lnTo>
                  <a:pt x="0" y="3132"/>
                </a:lnTo>
                <a:lnTo>
                  <a:pt x="1260" y="3132"/>
                </a:lnTo>
                <a:lnTo>
                  <a:pt x="1315" y="3130"/>
                </a:lnTo>
                <a:lnTo>
                  <a:pt x="1368" y="3127"/>
                </a:lnTo>
                <a:lnTo>
                  <a:pt x="1419" y="3123"/>
                </a:lnTo>
                <a:lnTo>
                  <a:pt x="1470" y="3115"/>
                </a:lnTo>
                <a:lnTo>
                  <a:pt x="1519" y="3107"/>
                </a:lnTo>
                <a:lnTo>
                  <a:pt x="1567" y="3096"/>
                </a:lnTo>
                <a:lnTo>
                  <a:pt x="1613" y="3083"/>
                </a:lnTo>
                <a:lnTo>
                  <a:pt x="1658" y="3068"/>
                </a:lnTo>
                <a:lnTo>
                  <a:pt x="1701" y="3052"/>
                </a:lnTo>
                <a:lnTo>
                  <a:pt x="1744" y="3033"/>
                </a:lnTo>
                <a:lnTo>
                  <a:pt x="1784" y="3013"/>
                </a:lnTo>
                <a:lnTo>
                  <a:pt x="1823" y="2991"/>
                </a:lnTo>
                <a:lnTo>
                  <a:pt x="1860" y="2968"/>
                </a:lnTo>
                <a:lnTo>
                  <a:pt x="1896" y="2943"/>
                </a:lnTo>
                <a:lnTo>
                  <a:pt x="1930" y="2916"/>
                </a:lnTo>
                <a:lnTo>
                  <a:pt x="1963" y="2888"/>
                </a:lnTo>
                <a:lnTo>
                  <a:pt x="1993" y="2858"/>
                </a:lnTo>
                <a:lnTo>
                  <a:pt x="2022" y="2826"/>
                </a:lnTo>
                <a:lnTo>
                  <a:pt x="2049" y="2793"/>
                </a:lnTo>
                <a:lnTo>
                  <a:pt x="2074" y="2758"/>
                </a:lnTo>
                <a:lnTo>
                  <a:pt x="2098" y="2722"/>
                </a:lnTo>
                <a:lnTo>
                  <a:pt x="2120" y="2684"/>
                </a:lnTo>
                <a:lnTo>
                  <a:pt x="2139" y="2646"/>
                </a:lnTo>
                <a:lnTo>
                  <a:pt x="2157" y="2605"/>
                </a:lnTo>
                <a:lnTo>
                  <a:pt x="2172" y="2563"/>
                </a:lnTo>
                <a:lnTo>
                  <a:pt x="2186" y="2520"/>
                </a:lnTo>
                <a:lnTo>
                  <a:pt x="2198" y="2475"/>
                </a:lnTo>
                <a:lnTo>
                  <a:pt x="2208" y="2430"/>
                </a:lnTo>
                <a:lnTo>
                  <a:pt x="2215" y="2383"/>
                </a:lnTo>
                <a:lnTo>
                  <a:pt x="2221" y="2335"/>
                </a:lnTo>
                <a:lnTo>
                  <a:pt x="2224" y="2286"/>
                </a:lnTo>
                <a:lnTo>
                  <a:pt x="2225" y="2235"/>
                </a:lnTo>
                <a:lnTo>
                  <a:pt x="2224" y="2185"/>
                </a:lnTo>
                <a:lnTo>
                  <a:pt x="2221" y="2136"/>
                </a:lnTo>
                <a:lnTo>
                  <a:pt x="2219" y="2113"/>
                </a:lnTo>
                <a:lnTo>
                  <a:pt x="2215" y="2090"/>
                </a:lnTo>
                <a:lnTo>
                  <a:pt x="2212" y="2067"/>
                </a:lnTo>
                <a:lnTo>
                  <a:pt x="2209" y="2044"/>
                </a:lnTo>
                <a:lnTo>
                  <a:pt x="2204" y="2023"/>
                </a:lnTo>
                <a:lnTo>
                  <a:pt x="2199" y="2001"/>
                </a:lnTo>
                <a:lnTo>
                  <a:pt x="2194" y="1980"/>
                </a:lnTo>
                <a:lnTo>
                  <a:pt x="2187" y="1959"/>
                </a:lnTo>
                <a:lnTo>
                  <a:pt x="2181" y="1939"/>
                </a:lnTo>
                <a:lnTo>
                  <a:pt x="2173" y="1918"/>
                </a:lnTo>
                <a:lnTo>
                  <a:pt x="2166" y="1898"/>
                </a:lnTo>
                <a:lnTo>
                  <a:pt x="2157" y="1879"/>
                </a:lnTo>
                <a:lnTo>
                  <a:pt x="2149" y="1859"/>
                </a:lnTo>
                <a:lnTo>
                  <a:pt x="2139" y="1841"/>
                </a:lnTo>
                <a:lnTo>
                  <a:pt x="2128" y="1823"/>
                </a:lnTo>
                <a:lnTo>
                  <a:pt x="2118" y="1804"/>
                </a:lnTo>
                <a:lnTo>
                  <a:pt x="2107" y="1786"/>
                </a:lnTo>
                <a:lnTo>
                  <a:pt x="2095" y="1768"/>
                </a:lnTo>
                <a:lnTo>
                  <a:pt x="2082" y="1750"/>
                </a:lnTo>
                <a:lnTo>
                  <a:pt x="2069" y="1733"/>
                </a:lnTo>
                <a:lnTo>
                  <a:pt x="2056" y="1716"/>
                </a:lnTo>
                <a:lnTo>
                  <a:pt x="2041" y="1700"/>
                </a:lnTo>
                <a:lnTo>
                  <a:pt x="2026" y="1682"/>
                </a:lnTo>
                <a:lnTo>
                  <a:pt x="2011" y="1666"/>
                </a:lnTo>
                <a:lnTo>
                  <a:pt x="1995" y="1650"/>
                </a:lnTo>
                <a:lnTo>
                  <a:pt x="1978" y="1634"/>
                </a:lnTo>
                <a:lnTo>
                  <a:pt x="1960" y="1619"/>
                </a:lnTo>
                <a:lnTo>
                  <a:pt x="1943" y="1603"/>
                </a:lnTo>
                <a:lnTo>
                  <a:pt x="1915" y="1581"/>
                </a:lnTo>
                <a:lnTo>
                  <a:pt x="1888" y="1561"/>
                </a:lnTo>
                <a:lnTo>
                  <a:pt x="1859" y="1542"/>
                </a:lnTo>
                <a:lnTo>
                  <a:pt x="1830" y="1525"/>
                </a:lnTo>
                <a:lnTo>
                  <a:pt x="1801" y="1509"/>
                </a:lnTo>
                <a:lnTo>
                  <a:pt x="1771" y="1494"/>
                </a:lnTo>
                <a:lnTo>
                  <a:pt x="1741" y="1480"/>
                </a:lnTo>
                <a:lnTo>
                  <a:pt x="1710" y="1467"/>
                </a:lnTo>
                <a:lnTo>
                  <a:pt x="1733" y="1455"/>
                </a:lnTo>
                <a:lnTo>
                  <a:pt x="1757" y="1442"/>
                </a:lnTo>
                <a:lnTo>
                  <a:pt x="1780" y="1429"/>
                </a:lnTo>
                <a:lnTo>
                  <a:pt x="1802" y="1415"/>
                </a:lnTo>
                <a:lnTo>
                  <a:pt x="1825" y="1400"/>
                </a:lnTo>
                <a:lnTo>
                  <a:pt x="1846" y="1384"/>
                </a:lnTo>
                <a:lnTo>
                  <a:pt x="1867" y="1368"/>
                </a:lnTo>
                <a:lnTo>
                  <a:pt x="1887" y="1350"/>
                </a:lnTo>
                <a:lnTo>
                  <a:pt x="1914" y="1324"/>
                </a:lnTo>
                <a:lnTo>
                  <a:pt x="1939" y="1297"/>
                </a:lnTo>
                <a:lnTo>
                  <a:pt x="1962" y="1269"/>
                </a:lnTo>
                <a:lnTo>
                  <a:pt x="1983" y="1240"/>
                </a:lnTo>
                <a:lnTo>
                  <a:pt x="2002" y="1208"/>
                </a:lnTo>
                <a:lnTo>
                  <a:pt x="2021" y="1177"/>
                </a:lnTo>
                <a:lnTo>
                  <a:pt x="2037" y="1145"/>
                </a:lnTo>
                <a:lnTo>
                  <a:pt x="2052" y="1110"/>
                </a:lnTo>
                <a:lnTo>
                  <a:pt x="2065" y="1076"/>
                </a:lnTo>
                <a:lnTo>
                  <a:pt x="2076" y="1040"/>
                </a:lnTo>
                <a:lnTo>
                  <a:pt x="2085" y="1004"/>
                </a:lnTo>
                <a:lnTo>
                  <a:pt x="2094" y="966"/>
                </a:lnTo>
                <a:lnTo>
                  <a:pt x="2099" y="927"/>
                </a:lnTo>
                <a:lnTo>
                  <a:pt x="2105" y="888"/>
                </a:lnTo>
                <a:lnTo>
                  <a:pt x="2107" y="847"/>
                </a:lnTo>
                <a:lnTo>
                  <a:pt x="2108" y="807"/>
                </a:lnTo>
                <a:lnTo>
                  <a:pt x="2107" y="765"/>
                </a:lnTo>
                <a:lnTo>
                  <a:pt x="2104" y="723"/>
                </a:lnTo>
                <a:lnTo>
                  <a:pt x="2098" y="683"/>
                </a:lnTo>
                <a:lnTo>
                  <a:pt x="2092" y="643"/>
                </a:lnTo>
                <a:lnTo>
                  <a:pt x="2083" y="604"/>
                </a:lnTo>
                <a:lnTo>
                  <a:pt x="2071" y="565"/>
                </a:lnTo>
                <a:lnTo>
                  <a:pt x="2058" y="529"/>
                </a:lnTo>
                <a:lnTo>
                  <a:pt x="2043" y="492"/>
                </a:lnTo>
                <a:lnTo>
                  <a:pt x="2026" y="456"/>
                </a:lnTo>
                <a:lnTo>
                  <a:pt x="2008" y="422"/>
                </a:lnTo>
                <a:lnTo>
                  <a:pt x="1986" y="389"/>
                </a:lnTo>
                <a:lnTo>
                  <a:pt x="1963" y="355"/>
                </a:lnTo>
                <a:lnTo>
                  <a:pt x="1938" y="323"/>
                </a:lnTo>
                <a:lnTo>
                  <a:pt x="1910" y="290"/>
                </a:lnTo>
                <a:lnTo>
                  <a:pt x="1881" y="259"/>
                </a:lnTo>
                <a:lnTo>
                  <a:pt x="1850" y="229"/>
                </a:lnTo>
                <a:lnTo>
                  <a:pt x="1829" y="212"/>
                </a:lnTo>
                <a:lnTo>
                  <a:pt x="1809" y="195"/>
                </a:lnTo>
                <a:lnTo>
                  <a:pt x="1788" y="180"/>
                </a:lnTo>
                <a:lnTo>
                  <a:pt x="1768" y="164"/>
                </a:lnTo>
                <a:lnTo>
                  <a:pt x="1747" y="150"/>
                </a:lnTo>
                <a:lnTo>
                  <a:pt x="1726" y="136"/>
                </a:lnTo>
                <a:lnTo>
                  <a:pt x="1704" y="125"/>
                </a:lnTo>
                <a:lnTo>
                  <a:pt x="1683" y="113"/>
                </a:lnTo>
                <a:lnTo>
                  <a:pt x="1661" y="101"/>
                </a:lnTo>
                <a:lnTo>
                  <a:pt x="1640" y="91"/>
                </a:lnTo>
                <a:lnTo>
                  <a:pt x="1617" y="81"/>
                </a:lnTo>
                <a:lnTo>
                  <a:pt x="1595" y="72"/>
                </a:lnTo>
                <a:lnTo>
                  <a:pt x="1572" y="64"/>
                </a:lnTo>
                <a:lnTo>
                  <a:pt x="1548" y="56"/>
                </a:lnTo>
                <a:lnTo>
                  <a:pt x="1525" y="49"/>
                </a:lnTo>
                <a:lnTo>
                  <a:pt x="1501" y="43"/>
                </a:lnTo>
                <a:lnTo>
                  <a:pt x="1477" y="36"/>
                </a:lnTo>
                <a:lnTo>
                  <a:pt x="1453" y="31"/>
                </a:lnTo>
                <a:lnTo>
                  <a:pt x="1428" y="25"/>
                </a:lnTo>
                <a:lnTo>
                  <a:pt x="1402" y="21"/>
                </a:lnTo>
                <a:lnTo>
                  <a:pt x="1351" y="14"/>
                </a:lnTo>
                <a:lnTo>
                  <a:pt x="1298" y="8"/>
                </a:lnTo>
                <a:lnTo>
                  <a:pt x="1243" y="4"/>
                </a:lnTo>
                <a:lnTo>
                  <a:pt x="1187" y="2"/>
                </a:lnTo>
                <a:lnTo>
                  <a:pt x="1129" y="0"/>
                </a:lnTo>
                <a:lnTo>
                  <a:pt x="1070" y="0"/>
                </a:lnTo>
                <a:lnTo>
                  <a:pt x="49" y="0"/>
                </a:lnTo>
                <a:close/>
              </a:path>
            </a:pathLst>
          </a:custGeom>
          <a:solidFill>
            <a:srgbClr val="0A2973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6" name="Freeform 12"/>
          <p:cNvSpPr>
            <a:spLocks/>
          </p:cNvSpPr>
          <p:nvPr userDrawn="1"/>
        </p:nvSpPr>
        <p:spPr bwMode="auto">
          <a:xfrm>
            <a:off x="7407275" y="765175"/>
            <a:ext cx="311150" cy="382588"/>
          </a:xfrm>
          <a:custGeom>
            <a:avLst/>
            <a:gdLst/>
            <a:ahLst/>
            <a:cxnLst>
              <a:cxn ang="0">
                <a:pos x="2484" y="0"/>
              </a:cxn>
              <a:cxn ang="0">
                <a:pos x="0" y="0"/>
              </a:cxn>
              <a:cxn ang="0">
                <a:pos x="0" y="601"/>
              </a:cxn>
              <a:cxn ang="0">
                <a:pos x="8" y="601"/>
              </a:cxn>
              <a:cxn ang="0">
                <a:pos x="33" y="601"/>
              </a:cxn>
              <a:cxn ang="0">
                <a:pos x="73" y="601"/>
              </a:cxn>
              <a:cxn ang="0">
                <a:pos x="124" y="601"/>
              </a:cxn>
              <a:cxn ang="0">
                <a:pos x="186" y="602"/>
              </a:cxn>
              <a:cxn ang="0">
                <a:pos x="253" y="602"/>
              </a:cxn>
              <a:cxn ang="0">
                <a:pos x="328" y="602"/>
              </a:cxn>
              <a:cxn ang="0">
                <a:pos x="405" y="602"/>
              </a:cxn>
              <a:cxn ang="0">
                <a:pos x="484" y="602"/>
              </a:cxn>
              <a:cxn ang="0">
                <a:pos x="561" y="602"/>
              </a:cxn>
              <a:cxn ang="0">
                <a:pos x="634" y="602"/>
              </a:cxn>
              <a:cxn ang="0">
                <a:pos x="703" y="602"/>
              </a:cxn>
              <a:cxn ang="0">
                <a:pos x="763" y="602"/>
              </a:cxn>
              <a:cxn ang="0">
                <a:pos x="814" y="603"/>
              </a:cxn>
              <a:cxn ang="0">
                <a:pos x="853" y="603"/>
              </a:cxn>
              <a:cxn ang="0">
                <a:pos x="877" y="603"/>
              </a:cxn>
              <a:cxn ang="0">
                <a:pos x="877" y="3138"/>
              </a:cxn>
              <a:cxn ang="0">
                <a:pos x="1583" y="3138"/>
              </a:cxn>
              <a:cxn ang="0">
                <a:pos x="1583" y="602"/>
              </a:cxn>
              <a:cxn ang="0">
                <a:pos x="1606" y="602"/>
              </a:cxn>
              <a:cxn ang="0">
                <a:pos x="1640" y="602"/>
              </a:cxn>
              <a:cxn ang="0">
                <a:pos x="1685" y="602"/>
              </a:cxn>
              <a:cxn ang="0">
                <a:pos x="1739" y="602"/>
              </a:cxn>
              <a:cxn ang="0">
                <a:pos x="1799" y="602"/>
              </a:cxn>
              <a:cxn ang="0">
                <a:pos x="1864" y="602"/>
              </a:cxn>
              <a:cxn ang="0">
                <a:pos x="1930" y="602"/>
              </a:cxn>
              <a:cxn ang="0">
                <a:pos x="1999" y="602"/>
              </a:cxn>
              <a:cxn ang="0">
                <a:pos x="2066" y="602"/>
              </a:cxn>
              <a:cxn ang="0">
                <a:pos x="2131" y="602"/>
              </a:cxn>
              <a:cxn ang="0">
                <a:pos x="2190" y="602"/>
              </a:cxn>
              <a:cxn ang="0">
                <a:pos x="2244" y="602"/>
              </a:cxn>
              <a:cxn ang="0">
                <a:pos x="2288" y="602"/>
              </a:cxn>
              <a:cxn ang="0">
                <a:pos x="2322" y="602"/>
              </a:cxn>
              <a:cxn ang="0">
                <a:pos x="2344" y="602"/>
              </a:cxn>
              <a:cxn ang="0">
                <a:pos x="2351" y="602"/>
              </a:cxn>
              <a:cxn ang="0">
                <a:pos x="2554" y="0"/>
              </a:cxn>
              <a:cxn ang="0">
                <a:pos x="2484" y="0"/>
              </a:cxn>
            </a:cxnLst>
            <a:rect l="0" t="0" r="r" b="b"/>
            <a:pathLst>
              <a:path w="2554" h="3138">
                <a:moveTo>
                  <a:pt x="2484" y="0"/>
                </a:moveTo>
                <a:lnTo>
                  <a:pt x="0" y="0"/>
                </a:lnTo>
                <a:lnTo>
                  <a:pt x="0" y="601"/>
                </a:lnTo>
                <a:lnTo>
                  <a:pt x="8" y="601"/>
                </a:lnTo>
                <a:lnTo>
                  <a:pt x="33" y="601"/>
                </a:lnTo>
                <a:lnTo>
                  <a:pt x="73" y="601"/>
                </a:lnTo>
                <a:lnTo>
                  <a:pt x="124" y="601"/>
                </a:lnTo>
                <a:lnTo>
                  <a:pt x="186" y="602"/>
                </a:lnTo>
                <a:lnTo>
                  <a:pt x="253" y="602"/>
                </a:lnTo>
                <a:lnTo>
                  <a:pt x="328" y="602"/>
                </a:lnTo>
                <a:lnTo>
                  <a:pt x="405" y="602"/>
                </a:lnTo>
                <a:lnTo>
                  <a:pt x="484" y="602"/>
                </a:lnTo>
                <a:lnTo>
                  <a:pt x="561" y="602"/>
                </a:lnTo>
                <a:lnTo>
                  <a:pt x="634" y="602"/>
                </a:lnTo>
                <a:lnTo>
                  <a:pt x="703" y="602"/>
                </a:lnTo>
                <a:lnTo>
                  <a:pt x="763" y="602"/>
                </a:lnTo>
                <a:lnTo>
                  <a:pt x="814" y="603"/>
                </a:lnTo>
                <a:lnTo>
                  <a:pt x="853" y="603"/>
                </a:lnTo>
                <a:lnTo>
                  <a:pt x="877" y="603"/>
                </a:lnTo>
                <a:lnTo>
                  <a:pt x="877" y="3138"/>
                </a:lnTo>
                <a:lnTo>
                  <a:pt x="1583" y="3138"/>
                </a:lnTo>
                <a:lnTo>
                  <a:pt x="1583" y="602"/>
                </a:lnTo>
                <a:lnTo>
                  <a:pt x="1606" y="602"/>
                </a:lnTo>
                <a:lnTo>
                  <a:pt x="1640" y="602"/>
                </a:lnTo>
                <a:lnTo>
                  <a:pt x="1685" y="602"/>
                </a:lnTo>
                <a:lnTo>
                  <a:pt x="1739" y="602"/>
                </a:lnTo>
                <a:lnTo>
                  <a:pt x="1799" y="602"/>
                </a:lnTo>
                <a:lnTo>
                  <a:pt x="1864" y="602"/>
                </a:lnTo>
                <a:lnTo>
                  <a:pt x="1930" y="602"/>
                </a:lnTo>
                <a:lnTo>
                  <a:pt x="1999" y="602"/>
                </a:lnTo>
                <a:lnTo>
                  <a:pt x="2066" y="602"/>
                </a:lnTo>
                <a:lnTo>
                  <a:pt x="2131" y="602"/>
                </a:lnTo>
                <a:lnTo>
                  <a:pt x="2190" y="602"/>
                </a:lnTo>
                <a:lnTo>
                  <a:pt x="2244" y="602"/>
                </a:lnTo>
                <a:lnTo>
                  <a:pt x="2288" y="602"/>
                </a:lnTo>
                <a:lnTo>
                  <a:pt x="2322" y="602"/>
                </a:lnTo>
                <a:lnTo>
                  <a:pt x="2344" y="602"/>
                </a:lnTo>
                <a:lnTo>
                  <a:pt x="2351" y="602"/>
                </a:lnTo>
                <a:lnTo>
                  <a:pt x="2554" y="0"/>
                </a:lnTo>
                <a:lnTo>
                  <a:pt x="2484" y="0"/>
                </a:lnTo>
                <a:close/>
              </a:path>
            </a:pathLst>
          </a:custGeom>
          <a:solidFill>
            <a:srgbClr val="0A2973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7" name="Freeform 13"/>
          <p:cNvSpPr>
            <a:spLocks noEditPoints="1"/>
          </p:cNvSpPr>
          <p:nvPr userDrawn="1"/>
        </p:nvSpPr>
        <p:spPr bwMode="auto">
          <a:xfrm>
            <a:off x="7740650" y="763589"/>
            <a:ext cx="273050" cy="382587"/>
          </a:xfrm>
          <a:custGeom>
            <a:avLst/>
            <a:gdLst/>
            <a:ahLst/>
            <a:cxnLst>
              <a:cxn ang="0">
                <a:pos x="1094" y="1783"/>
              </a:cxn>
              <a:cxn ang="0">
                <a:pos x="1147" y="1789"/>
              </a:cxn>
              <a:cxn ang="0">
                <a:pos x="1198" y="1799"/>
              </a:cxn>
              <a:cxn ang="0">
                <a:pos x="1244" y="1813"/>
              </a:cxn>
              <a:cxn ang="0">
                <a:pos x="1285" y="1833"/>
              </a:cxn>
              <a:cxn ang="0">
                <a:pos x="1325" y="1860"/>
              </a:cxn>
              <a:cxn ang="0">
                <a:pos x="1368" y="1902"/>
              </a:cxn>
              <a:cxn ang="0">
                <a:pos x="1401" y="1952"/>
              </a:cxn>
              <a:cxn ang="0">
                <a:pos x="1426" y="2011"/>
              </a:cxn>
              <a:cxn ang="0">
                <a:pos x="1440" y="2077"/>
              </a:cxn>
              <a:cxn ang="0">
                <a:pos x="1444" y="2152"/>
              </a:cxn>
              <a:cxn ang="0">
                <a:pos x="1440" y="2228"/>
              </a:cxn>
              <a:cxn ang="0">
                <a:pos x="1429" y="2290"/>
              </a:cxn>
              <a:cxn ang="0">
                <a:pos x="1413" y="2338"/>
              </a:cxn>
              <a:cxn ang="0">
                <a:pos x="1394" y="2376"/>
              </a:cxn>
              <a:cxn ang="0">
                <a:pos x="1356" y="2427"/>
              </a:cxn>
              <a:cxn ang="0">
                <a:pos x="1315" y="2465"/>
              </a:cxn>
              <a:cxn ang="0">
                <a:pos x="1267" y="2494"/>
              </a:cxn>
              <a:cxn ang="0">
                <a:pos x="1212" y="2515"/>
              </a:cxn>
              <a:cxn ang="0">
                <a:pos x="1150" y="2527"/>
              </a:cxn>
              <a:cxn ang="0">
                <a:pos x="1079" y="2531"/>
              </a:cxn>
              <a:cxn ang="0">
                <a:pos x="1057" y="1782"/>
              </a:cxn>
              <a:cxn ang="0">
                <a:pos x="0" y="3136"/>
              </a:cxn>
              <a:cxn ang="0">
                <a:pos x="1269" y="3133"/>
              </a:cxn>
              <a:cxn ang="0">
                <a:pos x="1412" y="3118"/>
              </a:cxn>
              <a:cxn ang="0">
                <a:pos x="1548" y="3089"/>
              </a:cxn>
              <a:cxn ang="0">
                <a:pos x="1673" y="3047"/>
              </a:cxn>
              <a:cxn ang="0">
                <a:pos x="1786" y="2994"/>
              </a:cxn>
              <a:cxn ang="0">
                <a:pos x="1885" y="2930"/>
              </a:cxn>
              <a:cxn ang="0">
                <a:pos x="1952" y="2874"/>
              </a:cxn>
              <a:cxn ang="0">
                <a:pos x="2002" y="2824"/>
              </a:cxn>
              <a:cxn ang="0">
                <a:pos x="2049" y="2766"/>
              </a:cxn>
              <a:cxn ang="0">
                <a:pos x="2094" y="2700"/>
              </a:cxn>
              <a:cxn ang="0">
                <a:pos x="2134" y="2626"/>
              </a:cxn>
              <a:cxn ang="0">
                <a:pos x="2169" y="2543"/>
              </a:cxn>
              <a:cxn ang="0">
                <a:pos x="2197" y="2449"/>
              </a:cxn>
              <a:cxn ang="0">
                <a:pos x="2218" y="2347"/>
              </a:cxn>
              <a:cxn ang="0">
                <a:pos x="2230" y="2234"/>
              </a:cxn>
              <a:cxn ang="0">
                <a:pos x="2232" y="2113"/>
              </a:cxn>
              <a:cxn ang="0">
                <a:pos x="2223" y="2004"/>
              </a:cxn>
              <a:cxn ang="0">
                <a:pos x="2207" y="1904"/>
              </a:cxn>
              <a:cxn ang="0">
                <a:pos x="2182" y="1813"/>
              </a:cxn>
              <a:cxn ang="0">
                <a:pos x="2152" y="1733"/>
              </a:cxn>
              <a:cxn ang="0">
                <a:pos x="2118" y="1660"/>
              </a:cxn>
              <a:cxn ang="0">
                <a:pos x="2079" y="1597"/>
              </a:cxn>
              <a:cxn ang="0">
                <a:pos x="2040" y="1541"/>
              </a:cxn>
              <a:cxn ang="0">
                <a:pos x="1986" y="1478"/>
              </a:cxn>
              <a:cxn ang="0">
                <a:pos x="1913" y="1410"/>
              </a:cxn>
              <a:cxn ang="0">
                <a:pos x="1829" y="1351"/>
              </a:cxn>
              <a:cxn ang="0">
                <a:pos x="1721" y="1294"/>
              </a:cxn>
              <a:cxn ang="0">
                <a:pos x="1609" y="1251"/>
              </a:cxn>
              <a:cxn ang="0">
                <a:pos x="1532" y="1229"/>
              </a:cxn>
              <a:cxn ang="0">
                <a:pos x="1447" y="1211"/>
              </a:cxn>
              <a:cxn ang="0">
                <a:pos x="1355" y="1197"/>
              </a:cxn>
              <a:cxn ang="0">
                <a:pos x="1254" y="1187"/>
              </a:cxn>
              <a:cxn ang="0">
                <a:pos x="1145" y="1185"/>
              </a:cxn>
              <a:cxn ang="0">
                <a:pos x="1889" y="603"/>
              </a:cxn>
            </a:cxnLst>
            <a:rect l="0" t="0" r="r" b="b"/>
            <a:pathLst>
              <a:path w="2233" h="3136">
                <a:moveTo>
                  <a:pt x="1057" y="1782"/>
                </a:moveTo>
                <a:lnTo>
                  <a:pt x="1075" y="1782"/>
                </a:lnTo>
                <a:lnTo>
                  <a:pt x="1094" y="1783"/>
                </a:lnTo>
                <a:lnTo>
                  <a:pt x="1112" y="1784"/>
                </a:lnTo>
                <a:lnTo>
                  <a:pt x="1130" y="1786"/>
                </a:lnTo>
                <a:lnTo>
                  <a:pt x="1147" y="1789"/>
                </a:lnTo>
                <a:lnTo>
                  <a:pt x="1165" y="1792"/>
                </a:lnTo>
                <a:lnTo>
                  <a:pt x="1182" y="1795"/>
                </a:lnTo>
                <a:lnTo>
                  <a:pt x="1198" y="1799"/>
                </a:lnTo>
                <a:lnTo>
                  <a:pt x="1214" y="1804"/>
                </a:lnTo>
                <a:lnTo>
                  <a:pt x="1229" y="1808"/>
                </a:lnTo>
                <a:lnTo>
                  <a:pt x="1244" y="1813"/>
                </a:lnTo>
                <a:lnTo>
                  <a:pt x="1258" y="1820"/>
                </a:lnTo>
                <a:lnTo>
                  <a:pt x="1272" y="1826"/>
                </a:lnTo>
                <a:lnTo>
                  <a:pt x="1285" y="1833"/>
                </a:lnTo>
                <a:lnTo>
                  <a:pt x="1297" y="1839"/>
                </a:lnTo>
                <a:lnTo>
                  <a:pt x="1308" y="1847"/>
                </a:lnTo>
                <a:lnTo>
                  <a:pt x="1325" y="1860"/>
                </a:lnTo>
                <a:lnTo>
                  <a:pt x="1340" y="1873"/>
                </a:lnTo>
                <a:lnTo>
                  <a:pt x="1355" y="1887"/>
                </a:lnTo>
                <a:lnTo>
                  <a:pt x="1368" y="1902"/>
                </a:lnTo>
                <a:lnTo>
                  <a:pt x="1381" y="1918"/>
                </a:lnTo>
                <a:lnTo>
                  <a:pt x="1392" y="1935"/>
                </a:lnTo>
                <a:lnTo>
                  <a:pt x="1401" y="1952"/>
                </a:lnTo>
                <a:lnTo>
                  <a:pt x="1411" y="1971"/>
                </a:lnTo>
                <a:lnTo>
                  <a:pt x="1418" y="1990"/>
                </a:lnTo>
                <a:lnTo>
                  <a:pt x="1426" y="2011"/>
                </a:lnTo>
                <a:lnTo>
                  <a:pt x="1431" y="2032"/>
                </a:lnTo>
                <a:lnTo>
                  <a:pt x="1436" y="2054"/>
                </a:lnTo>
                <a:lnTo>
                  <a:pt x="1440" y="2077"/>
                </a:lnTo>
                <a:lnTo>
                  <a:pt x="1442" y="2101"/>
                </a:lnTo>
                <a:lnTo>
                  <a:pt x="1444" y="2126"/>
                </a:lnTo>
                <a:lnTo>
                  <a:pt x="1444" y="2152"/>
                </a:lnTo>
                <a:lnTo>
                  <a:pt x="1444" y="2179"/>
                </a:lnTo>
                <a:lnTo>
                  <a:pt x="1442" y="2204"/>
                </a:lnTo>
                <a:lnTo>
                  <a:pt x="1440" y="2228"/>
                </a:lnTo>
                <a:lnTo>
                  <a:pt x="1437" y="2250"/>
                </a:lnTo>
                <a:lnTo>
                  <a:pt x="1434" y="2270"/>
                </a:lnTo>
                <a:lnTo>
                  <a:pt x="1429" y="2290"/>
                </a:lnTo>
                <a:lnTo>
                  <a:pt x="1424" y="2307"/>
                </a:lnTo>
                <a:lnTo>
                  <a:pt x="1418" y="2323"/>
                </a:lnTo>
                <a:lnTo>
                  <a:pt x="1413" y="2338"/>
                </a:lnTo>
                <a:lnTo>
                  <a:pt x="1407" y="2352"/>
                </a:lnTo>
                <a:lnTo>
                  <a:pt x="1400" y="2365"/>
                </a:lnTo>
                <a:lnTo>
                  <a:pt x="1394" y="2376"/>
                </a:lnTo>
                <a:lnTo>
                  <a:pt x="1381" y="2396"/>
                </a:lnTo>
                <a:lnTo>
                  <a:pt x="1368" y="2413"/>
                </a:lnTo>
                <a:lnTo>
                  <a:pt x="1356" y="2427"/>
                </a:lnTo>
                <a:lnTo>
                  <a:pt x="1343" y="2441"/>
                </a:lnTo>
                <a:lnTo>
                  <a:pt x="1329" y="2453"/>
                </a:lnTo>
                <a:lnTo>
                  <a:pt x="1315" y="2465"/>
                </a:lnTo>
                <a:lnTo>
                  <a:pt x="1300" y="2476"/>
                </a:lnTo>
                <a:lnTo>
                  <a:pt x="1284" y="2486"/>
                </a:lnTo>
                <a:lnTo>
                  <a:pt x="1267" y="2494"/>
                </a:lnTo>
                <a:lnTo>
                  <a:pt x="1250" y="2502"/>
                </a:lnTo>
                <a:lnTo>
                  <a:pt x="1231" y="2508"/>
                </a:lnTo>
                <a:lnTo>
                  <a:pt x="1212" y="2515"/>
                </a:lnTo>
                <a:lnTo>
                  <a:pt x="1191" y="2519"/>
                </a:lnTo>
                <a:lnTo>
                  <a:pt x="1171" y="2523"/>
                </a:lnTo>
                <a:lnTo>
                  <a:pt x="1150" y="2527"/>
                </a:lnTo>
                <a:lnTo>
                  <a:pt x="1127" y="2529"/>
                </a:lnTo>
                <a:lnTo>
                  <a:pt x="1103" y="2530"/>
                </a:lnTo>
                <a:lnTo>
                  <a:pt x="1079" y="2531"/>
                </a:lnTo>
                <a:lnTo>
                  <a:pt x="704" y="2531"/>
                </a:lnTo>
                <a:lnTo>
                  <a:pt x="704" y="1782"/>
                </a:lnTo>
                <a:lnTo>
                  <a:pt x="1057" y="1782"/>
                </a:lnTo>
                <a:close/>
                <a:moveTo>
                  <a:pt x="2047" y="0"/>
                </a:moveTo>
                <a:lnTo>
                  <a:pt x="0" y="0"/>
                </a:lnTo>
                <a:lnTo>
                  <a:pt x="0" y="3136"/>
                </a:lnTo>
                <a:lnTo>
                  <a:pt x="1171" y="3136"/>
                </a:lnTo>
                <a:lnTo>
                  <a:pt x="1221" y="3136"/>
                </a:lnTo>
                <a:lnTo>
                  <a:pt x="1269" y="3133"/>
                </a:lnTo>
                <a:lnTo>
                  <a:pt x="1317" y="3130"/>
                </a:lnTo>
                <a:lnTo>
                  <a:pt x="1366" y="3125"/>
                </a:lnTo>
                <a:lnTo>
                  <a:pt x="1412" y="3118"/>
                </a:lnTo>
                <a:lnTo>
                  <a:pt x="1458" y="3109"/>
                </a:lnTo>
                <a:lnTo>
                  <a:pt x="1503" y="3100"/>
                </a:lnTo>
                <a:lnTo>
                  <a:pt x="1548" y="3089"/>
                </a:lnTo>
                <a:lnTo>
                  <a:pt x="1591" y="3076"/>
                </a:lnTo>
                <a:lnTo>
                  <a:pt x="1633" y="3062"/>
                </a:lnTo>
                <a:lnTo>
                  <a:pt x="1673" y="3047"/>
                </a:lnTo>
                <a:lnTo>
                  <a:pt x="1712" y="3031"/>
                </a:lnTo>
                <a:lnTo>
                  <a:pt x="1750" y="3014"/>
                </a:lnTo>
                <a:lnTo>
                  <a:pt x="1786" y="2994"/>
                </a:lnTo>
                <a:lnTo>
                  <a:pt x="1821" y="2975"/>
                </a:lnTo>
                <a:lnTo>
                  <a:pt x="1853" y="2953"/>
                </a:lnTo>
                <a:lnTo>
                  <a:pt x="1885" y="2930"/>
                </a:lnTo>
                <a:lnTo>
                  <a:pt x="1919" y="2903"/>
                </a:lnTo>
                <a:lnTo>
                  <a:pt x="1936" y="2889"/>
                </a:lnTo>
                <a:lnTo>
                  <a:pt x="1952" y="2874"/>
                </a:lnTo>
                <a:lnTo>
                  <a:pt x="1969" y="2857"/>
                </a:lnTo>
                <a:lnTo>
                  <a:pt x="1985" y="2841"/>
                </a:lnTo>
                <a:lnTo>
                  <a:pt x="2002" y="2824"/>
                </a:lnTo>
                <a:lnTo>
                  <a:pt x="2018" y="2805"/>
                </a:lnTo>
                <a:lnTo>
                  <a:pt x="2034" y="2786"/>
                </a:lnTo>
                <a:lnTo>
                  <a:pt x="2049" y="2766"/>
                </a:lnTo>
                <a:lnTo>
                  <a:pt x="2064" y="2744"/>
                </a:lnTo>
                <a:lnTo>
                  <a:pt x="2079" y="2723"/>
                </a:lnTo>
                <a:lnTo>
                  <a:pt x="2094" y="2700"/>
                </a:lnTo>
                <a:lnTo>
                  <a:pt x="2108" y="2676"/>
                </a:lnTo>
                <a:lnTo>
                  <a:pt x="2121" y="2652"/>
                </a:lnTo>
                <a:lnTo>
                  <a:pt x="2134" y="2626"/>
                </a:lnTo>
                <a:lnTo>
                  <a:pt x="2147" y="2599"/>
                </a:lnTo>
                <a:lnTo>
                  <a:pt x="2157" y="2571"/>
                </a:lnTo>
                <a:lnTo>
                  <a:pt x="2169" y="2543"/>
                </a:lnTo>
                <a:lnTo>
                  <a:pt x="2179" y="2513"/>
                </a:lnTo>
                <a:lnTo>
                  <a:pt x="2189" y="2481"/>
                </a:lnTo>
                <a:lnTo>
                  <a:pt x="2197" y="2449"/>
                </a:lnTo>
                <a:lnTo>
                  <a:pt x="2205" y="2417"/>
                </a:lnTo>
                <a:lnTo>
                  <a:pt x="2212" y="2382"/>
                </a:lnTo>
                <a:lnTo>
                  <a:pt x="2218" y="2347"/>
                </a:lnTo>
                <a:lnTo>
                  <a:pt x="2223" y="2310"/>
                </a:lnTo>
                <a:lnTo>
                  <a:pt x="2227" y="2272"/>
                </a:lnTo>
                <a:lnTo>
                  <a:pt x="2230" y="2234"/>
                </a:lnTo>
                <a:lnTo>
                  <a:pt x="2232" y="2194"/>
                </a:lnTo>
                <a:lnTo>
                  <a:pt x="2233" y="2152"/>
                </a:lnTo>
                <a:lnTo>
                  <a:pt x="2232" y="2113"/>
                </a:lnTo>
                <a:lnTo>
                  <a:pt x="2231" y="2076"/>
                </a:lnTo>
                <a:lnTo>
                  <a:pt x="2227" y="2040"/>
                </a:lnTo>
                <a:lnTo>
                  <a:pt x="2223" y="2004"/>
                </a:lnTo>
                <a:lnTo>
                  <a:pt x="2219" y="1970"/>
                </a:lnTo>
                <a:lnTo>
                  <a:pt x="2213" y="1936"/>
                </a:lnTo>
                <a:lnTo>
                  <a:pt x="2207" y="1904"/>
                </a:lnTo>
                <a:lnTo>
                  <a:pt x="2199" y="1873"/>
                </a:lnTo>
                <a:lnTo>
                  <a:pt x="2191" y="1842"/>
                </a:lnTo>
                <a:lnTo>
                  <a:pt x="2182" y="1813"/>
                </a:lnTo>
                <a:lnTo>
                  <a:pt x="2173" y="1785"/>
                </a:lnTo>
                <a:lnTo>
                  <a:pt x="2163" y="1758"/>
                </a:lnTo>
                <a:lnTo>
                  <a:pt x="2152" y="1733"/>
                </a:lnTo>
                <a:lnTo>
                  <a:pt x="2141" y="1708"/>
                </a:lnTo>
                <a:lnTo>
                  <a:pt x="2130" y="1683"/>
                </a:lnTo>
                <a:lnTo>
                  <a:pt x="2118" y="1660"/>
                </a:lnTo>
                <a:lnTo>
                  <a:pt x="2105" y="1638"/>
                </a:lnTo>
                <a:lnTo>
                  <a:pt x="2092" y="1617"/>
                </a:lnTo>
                <a:lnTo>
                  <a:pt x="2079" y="1597"/>
                </a:lnTo>
                <a:lnTo>
                  <a:pt x="2066" y="1577"/>
                </a:lnTo>
                <a:lnTo>
                  <a:pt x="2053" y="1558"/>
                </a:lnTo>
                <a:lnTo>
                  <a:pt x="2040" y="1541"/>
                </a:lnTo>
                <a:lnTo>
                  <a:pt x="2026" y="1524"/>
                </a:lnTo>
                <a:lnTo>
                  <a:pt x="2013" y="1508"/>
                </a:lnTo>
                <a:lnTo>
                  <a:pt x="1986" y="1478"/>
                </a:lnTo>
                <a:lnTo>
                  <a:pt x="1961" y="1452"/>
                </a:lnTo>
                <a:lnTo>
                  <a:pt x="1936" y="1430"/>
                </a:lnTo>
                <a:lnTo>
                  <a:pt x="1913" y="1410"/>
                </a:lnTo>
                <a:lnTo>
                  <a:pt x="1887" y="1391"/>
                </a:lnTo>
                <a:lnTo>
                  <a:pt x="1861" y="1371"/>
                </a:lnTo>
                <a:lnTo>
                  <a:pt x="1829" y="1351"/>
                </a:lnTo>
                <a:lnTo>
                  <a:pt x="1796" y="1332"/>
                </a:lnTo>
                <a:lnTo>
                  <a:pt x="1759" y="1312"/>
                </a:lnTo>
                <a:lnTo>
                  <a:pt x="1721" y="1294"/>
                </a:lnTo>
                <a:lnTo>
                  <a:pt x="1679" y="1276"/>
                </a:lnTo>
                <a:lnTo>
                  <a:pt x="1633" y="1259"/>
                </a:lnTo>
                <a:lnTo>
                  <a:pt x="1609" y="1251"/>
                </a:lnTo>
                <a:lnTo>
                  <a:pt x="1584" y="1243"/>
                </a:lnTo>
                <a:lnTo>
                  <a:pt x="1558" y="1236"/>
                </a:lnTo>
                <a:lnTo>
                  <a:pt x="1532" y="1229"/>
                </a:lnTo>
                <a:lnTo>
                  <a:pt x="1505" y="1223"/>
                </a:lnTo>
                <a:lnTo>
                  <a:pt x="1477" y="1216"/>
                </a:lnTo>
                <a:lnTo>
                  <a:pt x="1447" y="1211"/>
                </a:lnTo>
                <a:lnTo>
                  <a:pt x="1417" y="1206"/>
                </a:lnTo>
                <a:lnTo>
                  <a:pt x="1386" y="1201"/>
                </a:lnTo>
                <a:lnTo>
                  <a:pt x="1355" y="1197"/>
                </a:lnTo>
                <a:lnTo>
                  <a:pt x="1323" y="1193"/>
                </a:lnTo>
                <a:lnTo>
                  <a:pt x="1288" y="1191"/>
                </a:lnTo>
                <a:lnTo>
                  <a:pt x="1254" y="1187"/>
                </a:lnTo>
                <a:lnTo>
                  <a:pt x="1218" y="1186"/>
                </a:lnTo>
                <a:lnTo>
                  <a:pt x="1182" y="1185"/>
                </a:lnTo>
                <a:lnTo>
                  <a:pt x="1145" y="1185"/>
                </a:lnTo>
                <a:lnTo>
                  <a:pt x="704" y="1185"/>
                </a:lnTo>
                <a:lnTo>
                  <a:pt x="704" y="603"/>
                </a:lnTo>
                <a:lnTo>
                  <a:pt x="1889" y="603"/>
                </a:lnTo>
                <a:lnTo>
                  <a:pt x="2096" y="0"/>
                </a:lnTo>
                <a:lnTo>
                  <a:pt x="2047" y="0"/>
                </a:lnTo>
                <a:close/>
              </a:path>
            </a:pathLst>
          </a:custGeom>
          <a:solidFill>
            <a:srgbClr val="0A2973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8" name="Freeform 14"/>
          <p:cNvSpPr>
            <a:spLocks/>
          </p:cNvSpPr>
          <p:nvPr userDrawn="1"/>
        </p:nvSpPr>
        <p:spPr bwMode="auto">
          <a:xfrm>
            <a:off x="6516689" y="573089"/>
            <a:ext cx="469900" cy="382587"/>
          </a:xfrm>
          <a:custGeom>
            <a:avLst/>
            <a:gdLst/>
            <a:ahLst/>
            <a:cxnLst>
              <a:cxn ang="0">
                <a:pos x="536" y="1605"/>
              </a:cxn>
              <a:cxn ang="0">
                <a:pos x="593" y="1754"/>
              </a:cxn>
              <a:cxn ang="0">
                <a:pos x="648" y="1867"/>
              </a:cxn>
              <a:cxn ang="0">
                <a:pos x="2800" y="1920"/>
              </a:cxn>
              <a:cxn ang="0">
                <a:pos x="2895" y="2006"/>
              </a:cxn>
              <a:cxn ang="0">
                <a:pos x="3045" y="2172"/>
              </a:cxn>
              <a:cxn ang="0">
                <a:pos x="3143" y="2303"/>
              </a:cxn>
              <a:cxn ang="0">
                <a:pos x="3241" y="2459"/>
              </a:cxn>
              <a:cxn ang="0">
                <a:pos x="3333" y="2637"/>
              </a:cxn>
              <a:cxn ang="0">
                <a:pos x="1167" y="2787"/>
              </a:cxn>
              <a:cxn ang="0">
                <a:pos x="1028" y="2664"/>
              </a:cxn>
              <a:cxn ang="0">
                <a:pos x="898" y="2532"/>
              </a:cxn>
              <a:cxn ang="0">
                <a:pos x="778" y="2391"/>
              </a:cxn>
              <a:cxn ang="0">
                <a:pos x="669" y="2241"/>
              </a:cxn>
              <a:cxn ang="0">
                <a:pos x="570" y="2083"/>
              </a:cxn>
              <a:cxn ang="0">
                <a:pos x="483" y="1918"/>
              </a:cxn>
              <a:cxn ang="0">
                <a:pos x="408" y="1745"/>
              </a:cxn>
              <a:cxn ang="0">
                <a:pos x="345" y="1568"/>
              </a:cxn>
              <a:cxn ang="0">
                <a:pos x="375" y="1479"/>
              </a:cxn>
              <a:cxn ang="0">
                <a:pos x="409" y="1393"/>
              </a:cxn>
              <a:cxn ang="0">
                <a:pos x="3009" y="1311"/>
              </a:cxn>
              <a:cxn ang="0">
                <a:pos x="3140" y="1196"/>
              </a:cxn>
              <a:cxn ang="0">
                <a:pos x="3280" y="1055"/>
              </a:cxn>
              <a:cxn ang="0">
                <a:pos x="610" y="1001"/>
              </a:cxn>
              <a:cxn ang="0">
                <a:pos x="668" y="914"/>
              </a:cxn>
              <a:cxn ang="0">
                <a:pos x="3445" y="852"/>
              </a:cxn>
              <a:cxn ang="0">
                <a:pos x="3531" y="722"/>
              </a:cxn>
              <a:cxn ang="0">
                <a:pos x="3641" y="534"/>
              </a:cxn>
              <a:cxn ang="0">
                <a:pos x="1048" y="477"/>
              </a:cxn>
              <a:cxn ang="0">
                <a:pos x="1148" y="390"/>
              </a:cxn>
              <a:cxn ang="0">
                <a:pos x="3754" y="286"/>
              </a:cxn>
              <a:cxn ang="0">
                <a:pos x="3829" y="67"/>
              </a:cxn>
              <a:cxn ang="0">
                <a:pos x="1099" y="0"/>
              </a:cxn>
              <a:cxn ang="0">
                <a:pos x="909" y="149"/>
              </a:cxn>
              <a:cxn ang="0">
                <a:pos x="732" y="312"/>
              </a:cxn>
              <a:cxn ang="0">
                <a:pos x="568" y="490"/>
              </a:cxn>
              <a:cxn ang="0">
                <a:pos x="421" y="682"/>
              </a:cxn>
              <a:cxn ang="0">
                <a:pos x="288" y="887"/>
              </a:cxn>
              <a:cxn ang="0">
                <a:pos x="173" y="1103"/>
              </a:cxn>
              <a:cxn ang="0">
                <a:pos x="77" y="1331"/>
              </a:cxn>
              <a:cxn ang="0">
                <a:pos x="0" y="1568"/>
              </a:cxn>
              <a:cxn ang="0">
                <a:pos x="76" y="1802"/>
              </a:cxn>
              <a:cxn ang="0">
                <a:pos x="172" y="2028"/>
              </a:cxn>
              <a:cxn ang="0">
                <a:pos x="286" y="2244"/>
              </a:cxn>
              <a:cxn ang="0">
                <a:pos x="417" y="2449"/>
              </a:cxn>
              <a:cxn ang="0">
                <a:pos x="565" y="2641"/>
              </a:cxn>
              <a:cxn ang="0">
                <a:pos x="728" y="2821"/>
              </a:cxn>
              <a:cxn ang="0">
                <a:pos x="907" y="2985"/>
              </a:cxn>
              <a:cxn ang="0">
                <a:pos x="1098" y="3135"/>
              </a:cxn>
              <a:cxn ang="0">
                <a:pos x="3830" y="3053"/>
              </a:cxn>
              <a:cxn ang="0">
                <a:pos x="3791" y="2878"/>
              </a:cxn>
              <a:cxn ang="0">
                <a:pos x="3726" y="2682"/>
              </a:cxn>
              <a:cxn ang="0">
                <a:pos x="3623" y="2449"/>
              </a:cxn>
              <a:cxn ang="0">
                <a:pos x="3471" y="2189"/>
              </a:cxn>
              <a:cxn ang="0">
                <a:pos x="3261" y="1916"/>
              </a:cxn>
              <a:cxn ang="0">
                <a:pos x="2983" y="1637"/>
              </a:cxn>
            </a:cxnLst>
            <a:rect l="0" t="0" r="r" b="b"/>
            <a:pathLst>
              <a:path w="3848" h="3135">
                <a:moveTo>
                  <a:pt x="2902" y="1568"/>
                </a:moveTo>
                <a:lnTo>
                  <a:pt x="524" y="1568"/>
                </a:lnTo>
                <a:lnTo>
                  <a:pt x="527" y="1577"/>
                </a:lnTo>
                <a:lnTo>
                  <a:pt x="536" y="1605"/>
                </a:lnTo>
                <a:lnTo>
                  <a:pt x="551" y="1646"/>
                </a:lnTo>
                <a:lnTo>
                  <a:pt x="570" y="1697"/>
                </a:lnTo>
                <a:lnTo>
                  <a:pt x="581" y="1725"/>
                </a:lnTo>
                <a:lnTo>
                  <a:pt x="593" y="1754"/>
                </a:lnTo>
                <a:lnTo>
                  <a:pt x="606" y="1783"/>
                </a:lnTo>
                <a:lnTo>
                  <a:pt x="619" y="1811"/>
                </a:lnTo>
                <a:lnTo>
                  <a:pt x="634" y="1840"/>
                </a:lnTo>
                <a:lnTo>
                  <a:pt x="648" y="1867"/>
                </a:lnTo>
                <a:lnTo>
                  <a:pt x="663" y="1892"/>
                </a:lnTo>
                <a:lnTo>
                  <a:pt x="679" y="1916"/>
                </a:lnTo>
                <a:lnTo>
                  <a:pt x="2795" y="1916"/>
                </a:lnTo>
                <a:lnTo>
                  <a:pt x="2800" y="1920"/>
                </a:lnTo>
                <a:lnTo>
                  <a:pt x="2813" y="1931"/>
                </a:lnTo>
                <a:lnTo>
                  <a:pt x="2834" y="1949"/>
                </a:lnTo>
                <a:lnTo>
                  <a:pt x="2861" y="1974"/>
                </a:lnTo>
                <a:lnTo>
                  <a:pt x="2895" y="2006"/>
                </a:lnTo>
                <a:lnTo>
                  <a:pt x="2934" y="2045"/>
                </a:lnTo>
                <a:lnTo>
                  <a:pt x="2976" y="2091"/>
                </a:lnTo>
                <a:lnTo>
                  <a:pt x="3022" y="2144"/>
                </a:lnTo>
                <a:lnTo>
                  <a:pt x="3045" y="2172"/>
                </a:lnTo>
                <a:lnTo>
                  <a:pt x="3069" y="2202"/>
                </a:lnTo>
                <a:lnTo>
                  <a:pt x="3094" y="2234"/>
                </a:lnTo>
                <a:lnTo>
                  <a:pt x="3119" y="2268"/>
                </a:lnTo>
                <a:lnTo>
                  <a:pt x="3143" y="2303"/>
                </a:lnTo>
                <a:lnTo>
                  <a:pt x="3168" y="2339"/>
                </a:lnTo>
                <a:lnTo>
                  <a:pt x="3193" y="2378"/>
                </a:lnTo>
                <a:lnTo>
                  <a:pt x="3218" y="2418"/>
                </a:lnTo>
                <a:lnTo>
                  <a:pt x="3241" y="2459"/>
                </a:lnTo>
                <a:lnTo>
                  <a:pt x="3265" y="2501"/>
                </a:lnTo>
                <a:lnTo>
                  <a:pt x="3289" y="2545"/>
                </a:lnTo>
                <a:lnTo>
                  <a:pt x="3311" y="2591"/>
                </a:lnTo>
                <a:lnTo>
                  <a:pt x="3333" y="2637"/>
                </a:lnTo>
                <a:lnTo>
                  <a:pt x="3354" y="2686"/>
                </a:lnTo>
                <a:lnTo>
                  <a:pt x="3374" y="2735"/>
                </a:lnTo>
                <a:lnTo>
                  <a:pt x="3392" y="2787"/>
                </a:lnTo>
                <a:lnTo>
                  <a:pt x="1167" y="2787"/>
                </a:lnTo>
                <a:lnTo>
                  <a:pt x="1132" y="2758"/>
                </a:lnTo>
                <a:lnTo>
                  <a:pt x="1096" y="2727"/>
                </a:lnTo>
                <a:lnTo>
                  <a:pt x="1062" y="2697"/>
                </a:lnTo>
                <a:lnTo>
                  <a:pt x="1028" y="2664"/>
                </a:lnTo>
                <a:lnTo>
                  <a:pt x="995" y="2632"/>
                </a:lnTo>
                <a:lnTo>
                  <a:pt x="962" y="2600"/>
                </a:lnTo>
                <a:lnTo>
                  <a:pt x="929" y="2566"/>
                </a:lnTo>
                <a:lnTo>
                  <a:pt x="898" y="2532"/>
                </a:lnTo>
                <a:lnTo>
                  <a:pt x="867" y="2497"/>
                </a:lnTo>
                <a:lnTo>
                  <a:pt x="837" y="2463"/>
                </a:lnTo>
                <a:lnTo>
                  <a:pt x="807" y="2427"/>
                </a:lnTo>
                <a:lnTo>
                  <a:pt x="778" y="2391"/>
                </a:lnTo>
                <a:lnTo>
                  <a:pt x="750" y="2354"/>
                </a:lnTo>
                <a:lnTo>
                  <a:pt x="722" y="2316"/>
                </a:lnTo>
                <a:lnTo>
                  <a:pt x="695" y="2279"/>
                </a:lnTo>
                <a:lnTo>
                  <a:pt x="669" y="2241"/>
                </a:lnTo>
                <a:lnTo>
                  <a:pt x="643" y="2202"/>
                </a:lnTo>
                <a:lnTo>
                  <a:pt x="619" y="2162"/>
                </a:lnTo>
                <a:lnTo>
                  <a:pt x="594" y="2122"/>
                </a:lnTo>
                <a:lnTo>
                  <a:pt x="570" y="2083"/>
                </a:lnTo>
                <a:lnTo>
                  <a:pt x="548" y="2042"/>
                </a:lnTo>
                <a:lnTo>
                  <a:pt x="525" y="2001"/>
                </a:lnTo>
                <a:lnTo>
                  <a:pt x="503" y="1960"/>
                </a:lnTo>
                <a:lnTo>
                  <a:pt x="483" y="1918"/>
                </a:lnTo>
                <a:lnTo>
                  <a:pt x="464" y="1875"/>
                </a:lnTo>
                <a:lnTo>
                  <a:pt x="444" y="1833"/>
                </a:lnTo>
                <a:lnTo>
                  <a:pt x="426" y="1790"/>
                </a:lnTo>
                <a:lnTo>
                  <a:pt x="408" y="1745"/>
                </a:lnTo>
                <a:lnTo>
                  <a:pt x="390" y="1701"/>
                </a:lnTo>
                <a:lnTo>
                  <a:pt x="374" y="1657"/>
                </a:lnTo>
                <a:lnTo>
                  <a:pt x="359" y="1613"/>
                </a:lnTo>
                <a:lnTo>
                  <a:pt x="345" y="1568"/>
                </a:lnTo>
                <a:lnTo>
                  <a:pt x="352" y="1545"/>
                </a:lnTo>
                <a:lnTo>
                  <a:pt x="359" y="1523"/>
                </a:lnTo>
                <a:lnTo>
                  <a:pt x="368" y="1502"/>
                </a:lnTo>
                <a:lnTo>
                  <a:pt x="375" y="1479"/>
                </a:lnTo>
                <a:lnTo>
                  <a:pt x="383" y="1458"/>
                </a:lnTo>
                <a:lnTo>
                  <a:pt x="392" y="1436"/>
                </a:lnTo>
                <a:lnTo>
                  <a:pt x="400" y="1415"/>
                </a:lnTo>
                <a:lnTo>
                  <a:pt x="409" y="1393"/>
                </a:lnTo>
                <a:lnTo>
                  <a:pt x="2901" y="1393"/>
                </a:lnTo>
                <a:lnTo>
                  <a:pt x="2938" y="1367"/>
                </a:lnTo>
                <a:lnTo>
                  <a:pt x="2973" y="1339"/>
                </a:lnTo>
                <a:lnTo>
                  <a:pt x="3009" y="1311"/>
                </a:lnTo>
                <a:lnTo>
                  <a:pt x="3044" y="1282"/>
                </a:lnTo>
                <a:lnTo>
                  <a:pt x="3078" y="1253"/>
                </a:lnTo>
                <a:lnTo>
                  <a:pt x="3109" y="1224"/>
                </a:lnTo>
                <a:lnTo>
                  <a:pt x="3140" y="1196"/>
                </a:lnTo>
                <a:lnTo>
                  <a:pt x="3168" y="1168"/>
                </a:lnTo>
                <a:lnTo>
                  <a:pt x="3218" y="1119"/>
                </a:lnTo>
                <a:lnTo>
                  <a:pt x="3256" y="1081"/>
                </a:lnTo>
                <a:lnTo>
                  <a:pt x="3280" y="1055"/>
                </a:lnTo>
                <a:lnTo>
                  <a:pt x="3289" y="1045"/>
                </a:lnTo>
                <a:lnTo>
                  <a:pt x="583" y="1045"/>
                </a:lnTo>
                <a:lnTo>
                  <a:pt x="597" y="1022"/>
                </a:lnTo>
                <a:lnTo>
                  <a:pt x="610" y="1001"/>
                </a:lnTo>
                <a:lnTo>
                  <a:pt x="624" y="978"/>
                </a:lnTo>
                <a:lnTo>
                  <a:pt x="639" y="957"/>
                </a:lnTo>
                <a:lnTo>
                  <a:pt x="653" y="935"/>
                </a:lnTo>
                <a:lnTo>
                  <a:pt x="668" y="914"/>
                </a:lnTo>
                <a:lnTo>
                  <a:pt x="682" y="892"/>
                </a:lnTo>
                <a:lnTo>
                  <a:pt x="698" y="871"/>
                </a:lnTo>
                <a:lnTo>
                  <a:pt x="3431" y="871"/>
                </a:lnTo>
                <a:lnTo>
                  <a:pt x="3445" y="852"/>
                </a:lnTo>
                <a:lnTo>
                  <a:pt x="3461" y="831"/>
                </a:lnTo>
                <a:lnTo>
                  <a:pt x="3477" y="806"/>
                </a:lnTo>
                <a:lnTo>
                  <a:pt x="3495" y="780"/>
                </a:lnTo>
                <a:lnTo>
                  <a:pt x="3531" y="722"/>
                </a:lnTo>
                <a:lnTo>
                  <a:pt x="3566" y="664"/>
                </a:lnTo>
                <a:lnTo>
                  <a:pt x="3597" y="610"/>
                </a:lnTo>
                <a:lnTo>
                  <a:pt x="3624" y="565"/>
                </a:lnTo>
                <a:lnTo>
                  <a:pt x="3641" y="534"/>
                </a:lnTo>
                <a:lnTo>
                  <a:pt x="3648" y="523"/>
                </a:lnTo>
                <a:lnTo>
                  <a:pt x="999" y="523"/>
                </a:lnTo>
                <a:lnTo>
                  <a:pt x="1023" y="500"/>
                </a:lnTo>
                <a:lnTo>
                  <a:pt x="1048" y="477"/>
                </a:lnTo>
                <a:lnTo>
                  <a:pt x="1071" y="455"/>
                </a:lnTo>
                <a:lnTo>
                  <a:pt x="1097" y="433"/>
                </a:lnTo>
                <a:lnTo>
                  <a:pt x="1122" y="412"/>
                </a:lnTo>
                <a:lnTo>
                  <a:pt x="1148" y="390"/>
                </a:lnTo>
                <a:lnTo>
                  <a:pt x="1174" y="370"/>
                </a:lnTo>
                <a:lnTo>
                  <a:pt x="1199" y="348"/>
                </a:lnTo>
                <a:lnTo>
                  <a:pt x="3729" y="348"/>
                </a:lnTo>
                <a:lnTo>
                  <a:pt x="3754" y="286"/>
                </a:lnTo>
                <a:lnTo>
                  <a:pt x="3777" y="224"/>
                </a:lnTo>
                <a:lnTo>
                  <a:pt x="3796" y="165"/>
                </a:lnTo>
                <a:lnTo>
                  <a:pt x="3815" y="112"/>
                </a:lnTo>
                <a:lnTo>
                  <a:pt x="3829" y="67"/>
                </a:lnTo>
                <a:lnTo>
                  <a:pt x="3838" y="31"/>
                </a:lnTo>
                <a:lnTo>
                  <a:pt x="3846" y="9"/>
                </a:lnTo>
                <a:lnTo>
                  <a:pt x="3848" y="0"/>
                </a:lnTo>
                <a:lnTo>
                  <a:pt x="1099" y="0"/>
                </a:lnTo>
                <a:lnTo>
                  <a:pt x="1051" y="36"/>
                </a:lnTo>
                <a:lnTo>
                  <a:pt x="1003" y="72"/>
                </a:lnTo>
                <a:lnTo>
                  <a:pt x="955" y="110"/>
                </a:lnTo>
                <a:lnTo>
                  <a:pt x="909" y="149"/>
                </a:lnTo>
                <a:lnTo>
                  <a:pt x="864" y="189"/>
                </a:lnTo>
                <a:lnTo>
                  <a:pt x="819" y="228"/>
                </a:lnTo>
                <a:lnTo>
                  <a:pt x="775" y="270"/>
                </a:lnTo>
                <a:lnTo>
                  <a:pt x="732" y="312"/>
                </a:lnTo>
                <a:lnTo>
                  <a:pt x="690" y="356"/>
                </a:lnTo>
                <a:lnTo>
                  <a:pt x="648" y="400"/>
                </a:lnTo>
                <a:lnTo>
                  <a:pt x="608" y="445"/>
                </a:lnTo>
                <a:lnTo>
                  <a:pt x="568" y="490"/>
                </a:lnTo>
                <a:lnTo>
                  <a:pt x="529" y="538"/>
                </a:lnTo>
                <a:lnTo>
                  <a:pt x="493" y="585"/>
                </a:lnTo>
                <a:lnTo>
                  <a:pt x="456" y="634"/>
                </a:lnTo>
                <a:lnTo>
                  <a:pt x="421" y="682"/>
                </a:lnTo>
                <a:lnTo>
                  <a:pt x="385" y="733"/>
                </a:lnTo>
                <a:lnTo>
                  <a:pt x="352" y="783"/>
                </a:lnTo>
                <a:lnTo>
                  <a:pt x="319" y="835"/>
                </a:lnTo>
                <a:lnTo>
                  <a:pt x="288" y="887"/>
                </a:lnTo>
                <a:lnTo>
                  <a:pt x="258" y="941"/>
                </a:lnTo>
                <a:lnTo>
                  <a:pt x="228" y="993"/>
                </a:lnTo>
                <a:lnTo>
                  <a:pt x="200" y="1048"/>
                </a:lnTo>
                <a:lnTo>
                  <a:pt x="173" y="1103"/>
                </a:lnTo>
                <a:lnTo>
                  <a:pt x="147" y="1159"/>
                </a:lnTo>
                <a:lnTo>
                  <a:pt x="123" y="1215"/>
                </a:lnTo>
                <a:lnTo>
                  <a:pt x="99" y="1272"/>
                </a:lnTo>
                <a:lnTo>
                  <a:pt x="77" y="1331"/>
                </a:lnTo>
                <a:lnTo>
                  <a:pt x="56" y="1389"/>
                </a:lnTo>
                <a:lnTo>
                  <a:pt x="35" y="1448"/>
                </a:lnTo>
                <a:lnTo>
                  <a:pt x="17" y="1507"/>
                </a:lnTo>
                <a:lnTo>
                  <a:pt x="0" y="1568"/>
                </a:lnTo>
                <a:lnTo>
                  <a:pt x="17" y="1627"/>
                </a:lnTo>
                <a:lnTo>
                  <a:pt x="35" y="1686"/>
                </a:lnTo>
                <a:lnTo>
                  <a:pt x="55" y="1744"/>
                </a:lnTo>
                <a:lnTo>
                  <a:pt x="76" y="1802"/>
                </a:lnTo>
                <a:lnTo>
                  <a:pt x="99" y="1860"/>
                </a:lnTo>
                <a:lnTo>
                  <a:pt x="122" y="1917"/>
                </a:lnTo>
                <a:lnTo>
                  <a:pt x="146" y="1973"/>
                </a:lnTo>
                <a:lnTo>
                  <a:pt x="172" y="2028"/>
                </a:lnTo>
                <a:lnTo>
                  <a:pt x="199" y="2083"/>
                </a:lnTo>
                <a:lnTo>
                  <a:pt x="227" y="2138"/>
                </a:lnTo>
                <a:lnTo>
                  <a:pt x="256" y="2190"/>
                </a:lnTo>
                <a:lnTo>
                  <a:pt x="286" y="2244"/>
                </a:lnTo>
                <a:lnTo>
                  <a:pt x="317" y="2296"/>
                </a:lnTo>
                <a:lnTo>
                  <a:pt x="350" y="2348"/>
                </a:lnTo>
                <a:lnTo>
                  <a:pt x="383" y="2398"/>
                </a:lnTo>
                <a:lnTo>
                  <a:pt x="417" y="2449"/>
                </a:lnTo>
                <a:lnTo>
                  <a:pt x="453" y="2497"/>
                </a:lnTo>
                <a:lnTo>
                  <a:pt x="489" y="2546"/>
                </a:lnTo>
                <a:lnTo>
                  <a:pt x="527" y="2594"/>
                </a:lnTo>
                <a:lnTo>
                  <a:pt x="565" y="2641"/>
                </a:lnTo>
                <a:lnTo>
                  <a:pt x="605" y="2687"/>
                </a:lnTo>
                <a:lnTo>
                  <a:pt x="645" y="2732"/>
                </a:lnTo>
                <a:lnTo>
                  <a:pt x="686" y="2776"/>
                </a:lnTo>
                <a:lnTo>
                  <a:pt x="728" y="2821"/>
                </a:lnTo>
                <a:lnTo>
                  <a:pt x="771" y="2863"/>
                </a:lnTo>
                <a:lnTo>
                  <a:pt x="815" y="2905"/>
                </a:lnTo>
                <a:lnTo>
                  <a:pt x="861" y="2946"/>
                </a:lnTo>
                <a:lnTo>
                  <a:pt x="907" y="2985"/>
                </a:lnTo>
                <a:lnTo>
                  <a:pt x="953" y="3024"/>
                </a:lnTo>
                <a:lnTo>
                  <a:pt x="1000" y="3062"/>
                </a:lnTo>
                <a:lnTo>
                  <a:pt x="1049" y="3100"/>
                </a:lnTo>
                <a:lnTo>
                  <a:pt x="1098" y="3135"/>
                </a:lnTo>
                <a:lnTo>
                  <a:pt x="3840" y="3135"/>
                </a:lnTo>
                <a:lnTo>
                  <a:pt x="3839" y="3125"/>
                </a:lnTo>
                <a:lnTo>
                  <a:pt x="3836" y="3097"/>
                </a:lnTo>
                <a:lnTo>
                  <a:pt x="3830" y="3053"/>
                </a:lnTo>
                <a:lnTo>
                  <a:pt x="3819" y="2993"/>
                </a:lnTo>
                <a:lnTo>
                  <a:pt x="3811" y="2958"/>
                </a:lnTo>
                <a:lnTo>
                  <a:pt x="3802" y="2920"/>
                </a:lnTo>
                <a:lnTo>
                  <a:pt x="3791" y="2878"/>
                </a:lnTo>
                <a:lnTo>
                  <a:pt x="3778" y="2832"/>
                </a:lnTo>
                <a:lnTo>
                  <a:pt x="3763" y="2785"/>
                </a:lnTo>
                <a:lnTo>
                  <a:pt x="3746" y="2734"/>
                </a:lnTo>
                <a:lnTo>
                  <a:pt x="3726" y="2682"/>
                </a:lnTo>
                <a:lnTo>
                  <a:pt x="3705" y="2627"/>
                </a:lnTo>
                <a:lnTo>
                  <a:pt x="3680" y="2570"/>
                </a:lnTo>
                <a:lnTo>
                  <a:pt x="3653" y="2510"/>
                </a:lnTo>
                <a:lnTo>
                  <a:pt x="3623" y="2449"/>
                </a:lnTo>
                <a:lnTo>
                  <a:pt x="3590" y="2386"/>
                </a:lnTo>
                <a:lnTo>
                  <a:pt x="3554" y="2322"/>
                </a:lnTo>
                <a:lnTo>
                  <a:pt x="3514" y="2256"/>
                </a:lnTo>
                <a:lnTo>
                  <a:pt x="3471" y="2189"/>
                </a:lnTo>
                <a:lnTo>
                  <a:pt x="3424" y="2122"/>
                </a:lnTo>
                <a:lnTo>
                  <a:pt x="3374" y="2053"/>
                </a:lnTo>
                <a:lnTo>
                  <a:pt x="3320" y="1985"/>
                </a:lnTo>
                <a:lnTo>
                  <a:pt x="3261" y="1916"/>
                </a:lnTo>
                <a:lnTo>
                  <a:pt x="3198" y="1846"/>
                </a:lnTo>
                <a:lnTo>
                  <a:pt x="3132" y="1776"/>
                </a:lnTo>
                <a:lnTo>
                  <a:pt x="3059" y="1705"/>
                </a:lnTo>
                <a:lnTo>
                  <a:pt x="2983" y="1637"/>
                </a:lnTo>
                <a:lnTo>
                  <a:pt x="2902" y="1568"/>
                </a:lnTo>
                <a:close/>
              </a:path>
            </a:pathLst>
          </a:custGeom>
          <a:solidFill>
            <a:srgbClr val="0A2973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39" name="Freeform 15"/>
          <p:cNvSpPr>
            <a:spLocks/>
          </p:cNvSpPr>
          <p:nvPr userDrawn="1"/>
        </p:nvSpPr>
        <p:spPr bwMode="auto">
          <a:xfrm>
            <a:off x="8045451" y="755651"/>
            <a:ext cx="254000" cy="390525"/>
          </a:xfrm>
          <a:custGeom>
            <a:avLst/>
            <a:gdLst/>
            <a:ahLst/>
            <a:cxnLst>
              <a:cxn ang="0">
                <a:pos x="198" y="323"/>
              </a:cxn>
              <a:cxn ang="0">
                <a:pos x="198" y="840"/>
              </a:cxn>
              <a:cxn ang="0">
                <a:pos x="284" y="845"/>
              </a:cxn>
              <a:cxn ang="0">
                <a:pos x="496" y="735"/>
              </a:cxn>
              <a:cxn ang="0">
                <a:pos x="755" y="640"/>
              </a:cxn>
              <a:cxn ang="0">
                <a:pos x="898" y="609"/>
              </a:cxn>
              <a:cxn ang="0">
                <a:pos x="1029" y="600"/>
              </a:cxn>
              <a:cxn ang="0">
                <a:pos x="1137" y="616"/>
              </a:cxn>
              <a:cxn ang="0">
                <a:pos x="1232" y="656"/>
              </a:cxn>
              <a:cxn ang="0">
                <a:pos x="1309" y="717"/>
              </a:cxn>
              <a:cxn ang="0">
                <a:pos x="1357" y="781"/>
              </a:cxn>
              <a:cxn ang="0">
                <a:pos x="1386" y="854"/>
              </a:cxn>
              <a:cxn ang="0">
                <a:pos x="1397" y="934"/>
              </a:cxn>
              <a:cxn ang="0">
                <a:pos x="1383" y="1059"/>
              </a:cxn>
              <a:cxn ang="0">
                <a:pos x="1343" y="1167"/>
              </a:cxn>
              <a:cxn ang="0">
                <a:pos x="1282" y="1260"/>
              </a:cxn>
              <a:cxn ang="0">
                <a:pos x="1201" y="1341"/>
              </a:cxn>
              <a:cxn ang="0">
                <a:pos x="1001" y="1486"/>
              </a:cxn>
              <a:cxn ang="0">
                <a:pos x="746" y="1648"/>
              </a:cxn>
              <a:cxn ang="0">
                <a:pos x="515" y="1824"/>
              </a:cxn>
              <a:cxn ang="0">
                <a:pos x="322" y="2018"/>
              </a:cxn>
              <a:cxn ang="0">
                <a:pos x="171" y="2237"/>
              </a:cxn>
              <a:cxn ang="0">
                <a:pos x="67" y="2489"/>
              </a:cxn>
              <a:cxn ang="0">
                <a:pos x="10" y="2784"/>
              </a:cxn>
              <a:cxn ang="0">
                <a:pos x="0" y="3012"/>
              </a:cxn>
              <a:cxn ang="0">
                <a:pos x="2" y="3178"/>
              </a:cxn>
              <a:cxn ang="0">
                <a:pos x="321" y="3199"/>
              </a:cxn>
              <a:cxn ang="0">
                <a:pos x="1162" y="3199"/>
              </a:cxn>
              <a:cxn ang="0">
                <a:pos x="1869" y="3199"/>
              </a:cxn>
              <a:cxn ang="0">
                <a:pos x="756" y="2564"/>
              </a:cxn>
              <a:cxn ang="0">
                <a:pos x="800" y="2440"/>
              </a:cxn>
              <a:cxn ang="0">
                <a:pos x="846" y="2357"/>
              </a:cxn>
              <a:cxn ang="0">
                <a:pos x="979" y="2204"/>
              </a:cxn>
              <a:cxn ang="0">
                <a:pos x="1176" y="2058"/>
              </a:cxn>
              <a:cxn ang="0">
                <a:pos x="1385" y="1929"/>
              </a:cxn>
              <a:cxn ang="0">
                <a:pos x="1547" y="1826"/>
              </a:cxn>
              <a:cxn ang="0">
                <a:pos x="1697" y="1706"/>
              </a:cxn>
              <a:cxn ang="0">
                <a:pos x="1825" y="1568"/>
              </a:cxn>
              <a:cxn ang="0">
                <a:pos x="1929" y="1418"/>
              </a:cxn>
              <a:cxn ang="0">
                <a:pos x="2007" y="1256"/>
              </a:cxn>
              <a:cxn ang="0">
                <a:pos x="2056" y="1089"/>
              </a:cxn>
              <a:cxn ang="0">
                <a:pos x="2074" y="918"/>
              </a:cxn>
              <a:cxn ang="0">
                <a:pos x="2059" y="719"/>
              </a:cxn>
              <a:cxn ang="0">
                <a:pos x="1999" y="518"/>
              </a:cxn>
              <a:cxn ang="0">
                <a:pos x="1894" y="344"/>
              </a:cxn>
              <a:cxn ang="0">
                <a:pos x="1786" y="233"/>
              </a:cxn>
              <a:cxn ang="0">
                <a:pos x="1689" y="161"/>
              </a:cxn>
              <a:cxn ang="0">
                <a:pos x="1581" y="101"/>
              </a:cxn>
              <a:cxn ang="0">
                <a:pos x="1461" y="55"/>
              </a:cxn>
              <a:cxn ang="0">
                <a:pos x="1333" y="24"/>
              </a:cxn>
              <a:cxn ang="0">
                <a:pos x="1195" y="5"/>
              </a:cxn>
              <a:cxn ang="0">
                <a:pos x="1026" y="1"/>
              </a:cxn>
              <a:cxn ang="0">
                <a:pos x="749" y="32"/>
              </a:cxn>
              <a:cxn ang="0">
                <a:pos x="472" y="102"/>
              </a:cxn>
              <a:cxn ang="0">
                <a:pos x="221" y="205"/>
              </a:cxn>
            </a:cxnLst>
            <a:rect l="0" t="0" r="r" b="b"/>
            <a:pathLst>
              <a:path w="2076" h="3199">
                <a:moveTo>
                  <a:pt x="221" y="205"/>
                </a:moveTo>
                <a:lnTo>
                  <a:pt x="213" y="209"/>
                </a:lnTo>
                <a:lnTo>
                  <a:pt x="198" y="217"/>
                </a:lnTo>
                <a:lnTo>
                  <a:pt x="198" y="250"/>
                </a:lnTo>
                <a:lnTo>
                  <a:pt x="198" y="323"/>
                </a:lnTo>
                <a:lnTo>
                  <a:pt x="198" y="422"/>
                </a:lnTo>
                <a:lnTo>
                  <a:pt x="198" y="537"/>
                </a:lnTo>
                <a:lnTo>
                  <a:pt x="198" y="653"/>
                </a:lnTo>
                <a:lnTo>
                  <a:pt x="198" y="759"/>
                </a:lnTo>
                <a:lnTo>
                  <a:pt x="198" y="840"/>
                </a:lnTo>
                <a:lnTo>
                  <a:pt x="198" y="887"/>
                </a:lnTo>
                <a:lnTo>
                  <a:pt x="226" y="874"/>
                </a:lnTo>
                <a:lnTo>
                  <a:pt x="254" y="860"/>
                </a:lnTo>
                <a:lnTo>
                  <a:pt x="276" y="849"/>
                </a:lnTo>
                <a:lnTo>
                  <a:pt x="284" y="845"/>
                </a:lnTo>
                <a:lnTo>
                  <a:pt x="320" y="824"/>
                </a:lnTo>
                <a:lnTo>
                  <a:pt x="377" y="793"/>
                </a:lnTo>
                <a:lnTo>
                  <a:pt x="412" y="775"/>
                </a:lnTo>
                <a:lnTo>
                  <a:pt x="453" y="755"/>
                </a:lnTo>
                <a:lnTo>
                  <a:pt x="496" y="735"/>
                </a:lnTo>
                <a:lnTo>
                  <a:pt x="544" y="714"/>
                </a:lnTo>
                <a:lnTo>
                  <a:pt x="593" y="695"/>
                </a:lnTo>
                <a:lnTo>
                  <a:pt x="645" y="675"/>
                </a:lnTo>
                <a:lnTo>
                  <a:pt x="700" y="656"/>
                </a:lnTo>
                <a:lnTo>
                  <a:pt x="755" y="640"/>
                </a:lnTo>
                <a:lnTo>
                  <a:pt x="782" y="633"/>
                </a:lnTo>
                <a:lnTo>
                  <a:pt x="812" y="626"/>
                </a:lnTo>
                <a:lnTo>
                  <a:pt x="840" y="620"/>
                </a:lnTo>
                <a:lnTo>
                  <a:pt x="869" y="614"/>
                </a:lnTo>
                <a:lnTo>
                  <a:pt x="898" y="609"/>
                </a:lnTo>
                <a:lnTo>
                  <a:pt x="926" y="606"/>
                </a:lnTo>
                <a:lnTo>
                  <a:pt x="955" y="602"/>
                </a:lnTo>
                <a:lnTo>
                  <a:pt x="983" y="600"/>
                </a:lnTo>
                <a:lnTo>
                  <a:pt x="1006" y="599"/>
                </a:lnTo>
                <a:lnTo>
                  <a:pt x="1029" y="600"/>
                </a:lnTo>
                <a:lnTo>
                  <a:pt x="1051" y="601"/>
                </a:lnTo>
                <a:lnTo>
                  <a:pt x="1073" y="603"/>
                </a:lnTo>
                <a:lnTo>
                  <a:pt x="1094" y="607"/>
                </a:lnTo>
                <a:lnTo>
                  <a:pt x="1116" y="611"/>
                </a:lnTo>
                <a:lnTo>
                  <a:pt x="1137" y="616"/>
                </a:lnTo>
                <a:lnTo>
                  <a:pt x="1157" y="623"/>
                </a:lnTo>
                <a:lnTo>
                  <a:pt x="1177" y="629"/>
                </a:lnTo>
                <a:lnTo>
                  <a:pt x="1196" y="638"/>
                </a:lnTo>
                <a:lnTo>
                  <a:pt x="1215" y="647"/>
                </a:lnTo>
                <a:lnTo>
                  <a:pt x="1232" y="656"/>
                </a:lnTo>
                <a:lnTo>
                  <a:pt x="1249" y="668"/>
                </a:lnTo>
                <a:lnTo>
                  <a:pt x="1267" y="679"/>
                </a:lnTo>
                <a:lnTo>
                  <a:pt x="1282" y="692"/>
                </a:lnTo>
                <a:lnTo>
                  <a:pt x="1297" y="706"/>
                </a:lnTo>
                <a:lnTo>
                  <a:pt x="1309" y="717"/>
                </a:lnTo>
                <a:lnTo>
                  <a:pt x="1319" y="729"/>
                </a:lnTo>
                <a:lnTo>
                  <a:pt x="1330" y="741"/>
                </a:lnTo>
                <a:lnTo>
                  <a:pt x="1340" y="754"/>
                </a:lnTo>
                <a:lnTo>
                  <a:pt x="1348" y="768"/>
                </a:lnTo>
                <a:lnTo>
                  <a:pt x="1357" y="781"/>
                </a:lnTo>
                <a:lnTo>
                  <a:pt x="1364" y="795"/>
                </a:lnTo>
                <a:lnTo>
                  <a:pt x="1371" y="810"/>
                </a:lnTo>
                <a:lnTo>
                  <a:pt x="1376" y="824"/>
                </a:lnTo>
                <a:lnTo>
                  <a:pt x="1382" y="839"/>
                </a:lnTo>
                <a:lnTo>
                  <a:pt x="1386" y="854"/>
                </a:lnTo>
                <a:lnTo>
                  <a:pt x="1389" y="871"/>
                </a:lnTo>
                <a:lnTo>
                  <a:pt x="1392" y="886"/>
                </a:lnTo>
                <a:lnTo>
                  <a:pt x="1395" y="902"/>
                </a:lnTo>
                <a:lnTo>
                  <a:pt x="1396" y="918"/>
                </a:lnTo>
                <a:lnTo>
                  <a:pt x="1397" y="934"/>
                </a:lnTo>
                <a:lnTo>
                  <a:pt x="1396" y="961"/>
                </a:lnTo>
                <a:lnTo>
                  <a:pt x="1394" y="987"/>
                </a:lnTo>
                <a:lnTo>
                  <a:pt x="1391" y="1012"/>
                </a:lnTo>
                <a:lnTo>
                  <a:pt x="1387" y="1035"/>
                </a:lnTo>
                <a:lnTo>
                  <a:pt x="1383" y="1059"/>
                </a:lnTo>
                <a:lnTo>
                  <a:pt x="1376" y="1082"/>
                </a:lnTo>
                <a:lnTo>
                  <a:pt x="1369" y="1104"/>
                </a:lnTo>
                <a:lnTo>
                  <a:pt x="1361" y="1125"/>
                </a:lnTo>
                <a:lnTo>
                  <a:pt x="1353" y="1146"/>
                </a:lnTo>
                <a:lnTo>
                  <a:pt x="1343" y="1167"/>
                </a:lnTo>
                <a:lnTo>
                  <a:pt x="1332" y="1186"/>
                </a:lnTo>
                <a:lnTo>
                  <a:pt x="1320" y="1206"/>
                </a:lnTo>
                <a:lnTo>
                  <a:pt x="1309" y="1224"/>
                </a:lnTo>
                <a:lnTo>
                  <a:pt x="1295" y="1242"/>
                </a:lnTo>
                <a:lnTo>
                  <a:pt x="1282" y="1260"/>
                </a:lnTo>
                <a:lnTo>
                  <a:pt x="1267" y="1277"/>
                </a:lnTo>
                <a:lnTo>
                  <a:pt x="1252" y="1294"/>
                </a:lnTo>
                <a:lnTo>
                  <a:pt x="1235" y="1310"/>
                </a:lnTo>
                <a:lnTo>
                  <a:pt x="1218" y="1326"/>
                </a:lnTo>
                <a:lnTo>
                  <a:pt x="1201" y="1341"/>
                </a:lnTo>
                <a:lnTo>
                  <a:pt x="1165" y="1373"/>
                </a:lnTo>
                <a:lnTo>
                  <a:pt x="1127" y="1402"/>
                </a:lnTo>
                <a:lnTo>
                  <a:pt x="1087" y="1431"/>
                </a:lnTo>
                <a:lnTo>
                  <a:pt x="1045" y="1459"/>
                </a:lnTo>
                <a:lnTo>
                  <a:pt x="1001" y="1486"/>
                </a:lnTo>
                <a:lnTo>
                  <a:pt x="957" y="1514"/>
                </a:lnTo>
                <a:lnTo>
                  <a:pt x="902" y="1547"/>
                </a:lnTo>
                <a:lnTo>
                  <a:pt x="848" y="1581"/>
                </a:lnTo>
                <a:lnTo>
                  <a:pt x="796" y="1614"/>
                </a:lnTo>
                <a:lnTo>
                  <a:pt x="746" y="1648"/>
                </a:lnTo>
                <a:lnTo>
                  <a:pt x="696" y="1683"/>
                </a:lnTo>
                <a:lnTo>
                  <a:pt x="649" y="1717"/>
                </a:lnTo>
                <a:lnTo>
                  <a:pt x="603" y="1752"/>
                </a:lnTo>
                <a:lnTo>
                  <a:pt x="558" y="1789"/>
                </a:lnTo>
                <a:lnTo>
                  <a:pt x="515" y="1824"/>
                </a:lnTo>
                <a:lnTo>
                  <a:pt x="473" y="1862"/>
                </a:lnTo>
                <a:lnTo>
                  <a:pt x="433" y="1900"/>
                </a:lnTo>
                <a:lnTo>
                  <a:pt x="394" y="1938"/>
                </a:lnTo>
                <a:lnTo>
                  <a:pt x="358" y="1977"/>
                </a:lnTo>
                <a:lnTo>
                  <a:pt x="322" y="2018"/>
                </a:lnTo>
                <a:lnTo>
                  <a:pt x="289" y="2060"/>
                </a:lnTo>
                <a:lnTo>
                  <a:pt x="258" y="2102"/>
                </a:lnTo>
                <a:lnTo>
                  <a:pt x="227" y="2146"/>
                </a:lnTo>
                <a:lnTo>
                  <a:pt x="198" y="2190"/>
                </a:lnTo>
                <a:lnTo>
                  <a:pt x="171" y="2237"/>
                </a:lnTo>
                <a:lnTo>
                  <a:pt x="147" y="2284"/>
                </a:lnTo>
                <a:lnTo>
                  <a:pt x="124" y="2334"/>
                </a:lnTo>
                <a:lnTo>
                  <a:pt x="103" y="2384"/>
                </a:lnTo>
                <a:lnTo>
                  <a:pt x="84" y="2436"/>
                </a:lnTo>
                <a:lnTo>
                  <a:pt x="67" y="2489"/>
                </a:lnTo>
                <a:lnTo>
                  <a:pt x="51" y="2545"/>
                </a:lnTo>
                <a:lnTo>
                  <a:pt x="38" y="2602"/>
                </a:lnTo>
                <a:lnTo>
                  <a:pt x="26" y="2660"/>
                </a:lnTo>
                <a:lnTo>
                  <a:pt x="18" y="2722"/>
                </a:lnTo>
                <a:lnTo>
                  <a:pt x="10" y="2784"/>
                </a:lnTo>
                <a:lnTo>
                  <a:pt x="5" y="2849"/>
                </a:lnTo>
                <a:lnTo>
                  <a:pt x="2" y="2915"/>
                </a:lnTo>
                <a:lnTo>
                  <a:pt x="0" y="2983"/>
                </a:lnTo>
                <a:lnTo>
                  <a:pt x="0" y="2992"/>
                </a:lnTo>
                <a:lnTo>
                  <a:pt x="0" y="3012"/>
                </a:lnTo>
                <a:lnTo>
                  <a:pt x="0" y="3042"/>
                </a:lnTo>
                <a:lnTo>
                  <a:pt x="0" y="3077"/>
                </a:lnTo>
                <a:lnTo>
                  <a:pt x="0" y="3114"/>
                </a:lnTo>
                <a:lnTo>
                  <a:pt x="0" y="3149"/>
                </a:lnTo>
                <a:lnTo>
                  <a:pt x="2" y="3178"/>
                </a:lnTo>
                <a:lnTo>
                  <a:pt x="2" y="3199"/>
                </a:lnTo>
                <a:lnTo>
                  <a:pt x="31" y="3199"/>
                </a:lnTo>
                <a:lnTo>
                  <a:pt x="96" y="3199"/>
                </a:lnTo>
                <a:lnTo>
                  <a:pt x="195" y="3199"/>
                </a:lnTo>
                <a:lnTo>
                  <a:pt x="321" y="3199"/>
                </a:lnTo>
                <a:lnTo>
                  <a:pt x="467" y="3199"/>
                </a:lnTo>
                <a:lnTo>
                  <a:pt x="631" y="3199"/>
                </a:lnTo>
                <a:lnTo>
                  <a:pt x="804" y="3199"/>
                </a:lnTo>
                <a:lnTo>
                  <a:pt x="983" y="3199"/>
                </a:lnTo>
                <a:lnTo>
                  <a:pt x="1162" y="3199"/>
                </a:lnTo>
                <a:lnTo>
                  <a:pt x="1335" y="3199"/>
                </a:lnTo>
                <a:lnTo>
                  <a:pt x="1498" y="3199"/>
                </a:lnTo>
                <a:lnTo>
                  <a:pt x="1645" y="3199"/>
                </a:lnTo>
                <a:lnTo>
                  <a:pt x="1770" y="3199"/>
                </a:lnTo>
                <a:lnTo>
                  <a:pt x="1869" y="3199"/>
                </a:lnTo>
                <a:lnTo>
                  <a:pt x="1936" y="3199"/>
                </a:lnTo>
                <a:lnTo>
                  <a:pt x="1965" y="3199"/>
                </a:lnTo>
                <a:lnTo>
                  <a:pt x="1965" y="2593"/>
                </a:lnTo>
                <a:lnTo>
                  <a:pt x="748" y="2593"/>
                </a:lnTo>
                <a:lnTo>
                  <a:pt x="756" y="2564"/>
                </a:lnTo>
                <a:lnTo>
                  <a:pt x="766" y="2528"/>
                </a:lnTo>
                <a:lnTo>
                  <a:pt x="778" y="2492"/>
                </a:lnTo>
                <a:lnTo>
                  <a:pt x="785" y="2475"/>
                </a:lnTo>
                <a:lnTo>
                  <a:pt x="792" y="2458"/>
                </a:lnTo>
                <a:lnTo>
                  <a:pt x="800" y="2440"/>
                </a:lnTo>
                <a:lnTo>
                  <a:pt x="808" y="2423"/>
                </a:lnTo>
                <a:lnTo>
                  <a:pt x="817" y="2407"/>
                </a:lnTo>
                <a:lnTo>
                  <a:pt x="826" y="2390"/>
                </a:lnTo>
                <a:lnTo>
                  <a:pt x="835" y="2374"/>
                </a:lnTo>
                <a:lnTo>
                  <a:pt x="846" y="2357"/>
                </a:lnTo>
                <a:lnTo>
                  <a:pt x="869" y="2326"/>
                </a:lnTo>
                <a:lnTo>
                  <a:pt x="892" y="2295"/>
                </a:lnTo>
                <a:lnTo>
                  <a:pt x="919" y="2265"/>
                </a:lnTo>
                <a:lnTo>
                  <a:pt x="948" y="2235"/>
                </a:lnTo>
                <a:lnTo>
                  <a:pt x="979" y="2204"/>
                </a:lnTo>
                <a:lnTo>
                  <a:pt x="1014" y="2175"/>
                </a:lnTo>
                <a:lnTo>
                  <a:pt x="1050" y="2145"/>
                </a:lnTo>
                <a:lnTo>
                  <a:pt x="1089" y="2116"/>
                </a:lnTo>
                <a:lnTo>
                  <a:pt x="1131" y="2087"/>
                </a:lnTo>
                <a:lnTo>
                  <a:pt x="1176" y="2058"/>
                </a:lnTo>
                <a:lnTo>
                  <a:pt x="1189" y="2050"/>
                </a:lnTo>
                <a:lnTo>
                  <a:pt x="1224" y="2029"/>
                </a:lnTo>
                <a:lnTo>
                  <a:pt x="1273" y="1999"/>
                </a:lnTo>
                <a:lnTo>
                  <a:pt x="1329" y="1963"/>
                </a:lnTo>
                <a:lnTo>
                  <a:pt x="1385" y="1929"/>
                </a:lnTo>
                <a:lnTo>
                  <a:pt x="1433" y="1898"/>
                </a:lnTo>
                <a:lnTo>
                  <a:pt x="1468" y="1877"/>
                </a:lnTo>
                <a:lnTo>
                  <a:pt x="1482" y="1869"/>
                </a:lnTo>
                <a:lnTo>
                  <a:pt x="1514" y="1848"/>
                </a:lnTo>
                <a:lnTo>
                  <a:pt x="1547" y="1826"/>
                </a:lnTo>
                <a:lnTo>
                  <a:pt x="1579" y="1804"/>
                </a:lnTo>
                <a:lnTo>
                  <a:pt x="1610" y="1780"/>
                </a:lnTo>
                <a:lnTo>
                  <a:pt x="1640" y="1756"/>
                </a:lnTo>
                <a:lnTo>
                  <a:pt x="1669" y="1731"/>
                </a:lnTo>
                <a:lnTo>
                  <a:pt x="1697" y="1706"/>
                </a:lnTo>
                <a:lnTo>
                  <a:pt x="1725" y="1680"/>
                </a:lnTo>
                <a:lnTo>
                  <a:pt x="1751" y="1653"/>
                </a:lnTo>
                <a:lnTo>
                  <a:pt x="1776" y="1625"/>
                </a:lnTo>
                <a:lnTo>
                  <a:pt x="1801" y="1597"/>
                </a:lnTo>
                <a:lnTo>
                  <a:pt x="1825" y="1568"/>
                </a:lnTo>
                <a:lnTo>
                  <a:pt x="1847" y="1539"/>
                </a:lnTo>
                <a:lnTo>
                  <a:pt x="1869" y="1510"/>
                </a:lnTo>
                <a:lnTo>
                  <a:pt x="1891" y="1479"/>
                </a:lnTo>
                <a:lnTo>
                  <a:pt x="1910" y="1448"/>
                </a:lnTo>
                <a:lnTo>
                  <a:pt x="1929" y="1418"/>
                </a:lnTo>
                <a:lnTo>
                  <a:pt x="1946" y="1386"/>
                </a:lnTo>
                <a:lnTo>
                  <a:pt x="1963" y="1354"/>
                </a:lnTo>
                <a:lnTo>
                  <a:pt x="1979" y="1322"/>
                </a:lnTo>
                <a:lnTo>
                  <a:pt x="1993" y="1290"/>
                </a:lnTo>
                <a:lnTo>
                  <a:pt x="2007" y="1256"/>
                </a:lnTo>
                <a:lnTo>
                  <a:pt x="2019" y="1224"/>
                </a:lnTo>
                <a:lnTo>
                  <a:pt x="2029" y="1191"/>
                </a:lnTo>
                <a:lnTo>
                  <a:pt x="2040" y="1157"/>
                </a:lnTo>
                <a:lnTo>
                  <a:pt x="2049" y="1123"/>
                </a:lnTo>
                <a:lnTo>
                  <a:pt x="2056" y="1089"/>
                </a:lnTo>
                <a:lnTo>
                  <a:pt x="2062" y="1055"/>
                </a:lnTo>
                <a:lnTo>
                  <a:pt x="2067" y="1020"/>
                </a:lnTo>
                <a:lnTo>
                  <a:pt x="2071" y="987"/>
                </a:lnTo>
                <a:lnTo>
                  <a:pt x="2073" y="953"/>
                </a:lnTo>
                <a:lnTo>
                  <a:pt x="2074" y="918"/>
                </a:lnTo>
                <a:lnTo>
                  <a:pt x="2076" y="895"/>
                </a:lnTo>
                <a:lnTo>
                  <a:pt x="2074" y="850"/>
                </a:lnTo>
                <a:lnTo>
                  <a:pt x="2071" y="806"/>
                </a:lnTo>
                <a:lnTo>
                  <a:pt x="2067" y="762"/>
                </a:lnTo>
                <a:lnTo>
                  <a:pt x="2059" y="719"/>
                </a:lnTo>
                <a:lnTo>
                  <a:pt x="2052" y="677"/>
                </a:lnTo>
                <a:lnTo>
                  <a:pt x="2041" y="636"/>
                </a:lnTo>
                <a:lnTo>
                  <a:pt x="2029" y="596"/>
                </a:lnTo>
                <a:lnTo>
                  <a:pt x="2015" y="556"/>
                </a:lnTo>
                <a:lnTo>
                  <a:pt x="1999" y="518"/>
                </a:lnTo>
                <a:lnTo>
                  <a:pt x="1982" y="482"/>
                </a:lnTo>
                <a:lnTo>
                  <a:pt x="1963" y="445"/>
                </a:lnTo>
                <a:lnTo>
                  <a:pt x="1941" y="411"/>
                </a:lnTo>
                <a:lnTo>
                  <a:pt x="1918" y="376"/>
                </a:lnTo>
                <a:lnTo>
                  <a:pt x="1894" y="344"/>
                </a:lnTo>
                <a:lnTo>
                  <a:pt x="1868" y="313"/>
                </a:lnTo>
                <a:lnTo>
                  <a:pt x="1840" y="282"/>
                </a:lnTo>
                <a:lnTo>
                  <a:pt x="1823" y="265"/>
                </a:lnTo>
                <a:lnTo>
                  <a:pt x="1804" y="249"/>
                </a:lnTo>
                <a:lnTo>
                  <a:pt x="1786" y="233"/>
                </a:lnTo>
                <a:lnTo>
                  <a:pt x="1768" y="217"/>
                </a:lnTo>
                <a:lnTo>
                  <a:pt x="1750" y="203"/>
                </a:lnTo>
                <a:lnTo>
                  <a:pt x="1729" y="188"/>
                </a:lnTo>
                <a:lnTo>
                  <a:pt x="1710" y="174"/>
                </a:lnTo>
                <a:lnTo>
                  <a:pt x="1689" y="161"/>
                </a:lnTo>
                <a:lnTo>
                  <a:pt x="1668" y="148"/>
                </a:lnTo>
                <a:lnTo>
                  <a:pt x="1647" y="135"/>
                </a:lnTo>
                <a:lnTo>
                  <a:pt x="1626" y="123"/>
                </a:lnTo>
                <a:lnTo>
                  <a:pt x="1603" y="112"/>
                </a:lnTo>
                <a:lnTo>
                  <a:pt x="1581" y="101"/>
                </a:lnTo>
                <a:lnTo>
                  <a:pt x="1558" y="91"/>
                </a:lnTo>
                <a:lnTo>
                  <a:pt x="1534" y="81"/>
                </a:lnTo>
                <a:lnTo>
                  <a:pt x="1511" y="72"/>
                </a:lnTo>
                <a:lnTo>
                  <a:pt x="1486" y="64"/>
                </a:lnTo>
                <a:lnTo>
                  <a:pt x="1461" y="55"/>
                </a:lnTo>
                <a:lnTo>
                  <a:pt x="1437" y="48"/>
                </a:lnTo>
                <a:lnTo>
                  <a:pt x="1412" y="41"/>
                </a:lnTo>
                <a:lnTo>
                  <a:pt x="1386" y="35"/>
                </a:lnTo>
                <a:lnTo>
                  <a:pt x="1359" y="29"/>
                </a:lnTo>
                <a:lnTo>
                  <a:pt x="1333" y="24"/>
                </a:lnTo>
                <a:lnTo>
                  <a:pt x="1306" y="18"/>
                </a:lnTo>
                <a:lnTo>
                  <a:pt x="1278" y="14"/>
                </a:lnTo>
                <a:lnTo>
                  <a:pt x="1252" y="11"/>
                </a:lnTo>
                <a:lnTo>
                  <a:pt x="1224" y="8"/>
                </a:lnTo>
                <a:lnTo>
                  <a:pt x="1195" y="5"/>
                </a:lnTo>
                <a:lnTo>
                  <a:pt x="1167" y="3"/>
                </a:lnTo>
                <a:lnTo>
                  <a:pt x="1137" y="1"/>
                </a:lnTo>
                <a:lnTo>
                  <a:pt x="1107" y="1"/>
                </a:lnTo>
                <a:lnTo>
                  <a:pt x="1078" y="0"/>
                </a:lnTo>
                <a:lnTo>
                  <a:pt x="1026" y="1"/>
                </a:lnTo>
                <a:lnTo>
                  <a:pt x="972" y="4"/>
                </a:lnTo>
                <a:lnTo>
                  <a:pt x="917" y="9"/>
                </a:lnTo>
                <a:lnTo>
                  <a:pt x="862" y="15"/>
                </a:lnTo>
                <a:lnTo>
                  <a:pt x="806" y="23"/>
                </a:lnTo>
                <a:lnTo>
                  <a:pt x="749" y="32"/>
                </a:lnTo>
                <a:lnTo>
                  <a:pt x="693" y="43"/>
                </a:lnTo>
                <a:lnTo>
                  <a:pt x="637" y="56"/>
                </a:lnTo>
                <a:lnTo>
                  <a:pt x="581" y="70"/>
                </a:lnTo>
                <a:lnTo>
                  <a:pt x="526" y="85"/>
                </a:lnTo>
                <a:lnTo>
                  <a:pt x="472" y="102"/>
                </a:lnTo>
                <a:lnTo>
                  <a:pt x="419" y="121"/>
                </a:lnTo>
                <a:lnTo>
                  <a:pt x="367" y="140"/>
                </a:lnTo>
                <a:lnTo>
                  <a:pt x="317" y="161"/>
                </a:lnTo>
                <a:lnTo>
                  <a:pt x="267" y="182"/>
                </a:lnTo>
                <a:lnTo>
                  <a:pt x="221" y="205"/>
                </a:lnTo>
                <a:close/>
              </a:path>
            </a:pathLst>
          </a:custGeom>
          <a:solidFill>
            <a:srgbClr val="FC1921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  <p:sp>
        <p:nvSpPr>
          <p:cNvPr id="1040" name="Freeform 16"/>
          <p:cNvSpPr>
            <a:spLocks/>
          </p:cNvSpPr>
          <p:nvPr userDrawn="1"/>
        </p:nvSpPr>
        <p:spPr bwMode="auto">
          <a:xfrm>
            <a:off x="8304214" y="763589"/>
            <a:ext cx="314325" cy="382587"/>
          </a:xfrm>
          <a:custGeom>
            <a:avLst/>
            <a:gdLst/>
            <a:ahLst/>
            <a:cxnLst>
              <a:cxn ang="0">
                <a:pos x="1260" y="0"/>
              </a:cxn>
              <a:cxn ang="0">
                <a:pos x="1244" y="26"/>
              </a:cxn>
              <a:cxn ang="0">
                <a:pos x="1202" y="91"/>
              </a:cxn>
              <a:cxn ang="0">
                <a:pos x="1139" y="189"/>
              </a:cxn>
              <a:cxn ang="0">
                <a:pos x="1057" y="316"/>
              </a:cxn>
              <a:cxn ang="0">
                <a:pos x="963" y="466"/>
              </a:cxn>
              <a:cxn ang="0">
                <a:pos x="857" y="632"/>
              </a:cxn>
              <a:cxn ang="0">
                <a:pos x="744" y="810"/>
              </a:cxn>
              <a:cxn ang="0">
                <a:pos x="627" y="992"/>
              </a:cxn>
              <a:cxn ang="0">
                <a:pos x="511" y="1175"/>
              </a:cxn>
              <a:cxn ang="0">
                <a:pos x="398" y="1352"/>
              </a:cxn>
              <a:cxn ang="0">
                <a:pos x="293" y="1518"/>
              </a:cxn>
              <a:cxn ang="0">
                <a:pos x="198" y="1666"/>
              </a:cxn>
              <a:cxn ang="0">
                <a:pos x="118" y="1792"/>
              </a:cxn>
              <a:cxn ang="0">
                <a:pos x="56" y="1890"/>
              </a:cxn>
              <a:cxn ang="0">
                <a:pos x="15" y="1953"/>
              </a:cxn>
              <a:cxn ang="0">
                <a:pos x="0" y="1978"/>
              </a:cxn>
              <a:cxn ang="0">
                <a:pos x="0" y="2528"/>
              </a:cxn>
              <a:cxn ang="0">
                <a:pos x="1397" y="2528"/>
              </a:cxn>
              <a:cxn ang="0">
                <a:pos x="1397" y="3141"/>
              </a:cxn>
              <a:cxn ang="0">
                <a:pos x="1982" y="3141"/>
              </a:cxn>
              <a:cxn ang="0">
                <a:pos x="1982" y="2528"/>
              </a:cxn>
              <a:cxn ang="0">
                <a:pos x="2367" y="2528"/>
              </a:cxn>
              <a:cxn ang="0">
                <a:pos x="2570" y="1925"/>
              </a:cxn>
              <a:cxn ang="0">
                <a:pos x="1982" y="1925"/>
              </a:cxn>
              <a:cxn ang="0">
                <a:pos x="1982" y="1307"/>
              </a:cxn>
              <a:cxn ang="0">
                <a:pos x="1397" y="1307"/>
              </a:cxn>
              <a:cxn ang="0">
                <a:pos x="1397" y="1925"/>
              </a:cxn>
              <a:cxn ang="0">
                <a:pos x="707" y="1925"/>
              </a:cxn>
              <a:cxn ang="0">
                <a:pos x="727" y="1892"/>
              </a:cxn>
              <a:cxn ang="0">
                <a:pos x="767" y="1828"/>
              </a:cxn>
              <a:cxn ang="0">
                <a:pos x="823" y="1737"/>
              </a:cxn>
              <a:cxn ang="0">
                <a:pos x="895" y="1624"/>
              </a:cxn>
              <a:cxn ang="0">
                <a:pos x="978" y="1493"/>
              </a:cxn>
              <a:cxn ang="0">
                <a:pos x="1070" y="1347"/>
              </a:cxn>
              <a:cxn ang="0">
                <a:pos x="1169" y="1191"/>
              </a:cxn>
              <a:cxn ang="0">
                <a:pos x="1273" y="1029"/>
              </a:cxn>
              <a:cxn ang="0">
                <a:pos x="1377" y="864"/>
              </a:cxn>
              <a:cxn ang="0">
                <a:pos x="1479" y="702"/>
              </a:cxn>
              <a:cxn ang="0">
                <a:pos x="1578" y="545"/>
              </a:cxn>
              <a:cxn ang="0">
                <a:pos x="1672" y="399"/>
              </a:cxn>
              <a:cxn ang="0">
                <a:pos x="1755" y="268"/>
              </a:cxn>
              <a:cxn ang="0">
                <a:pos x="1827" y="155"/>
              </a:cxn>
              <a:cxn ang="0">
                <a:pos x="1885" y="64"/>
              </a:cxn>
              <a:cxn ang="0">
                <a:pos x="1926" y="0"/>
              </a:cxn>
              <a:cxn ang="0">
                <a:pos x="1260" y="0"/>
              </a:cxn>
            </a:cxnLst>
            <a:rect l="0" t="0" r="r" b="b"/>
            <a:pathLst>
              <a:path w="2570" h="3141">
                <a:moveTo>
                  <a:pt x="1260" y="0"/>
                </a:moveTo>
                <a:lnTo>
                  <a:pt x="1244" y="26"/>
                </a:lnTo>
                <a:lnTo>
                  <a:pt x="1202" y="91"/>
                </a:lnTo>
                <a:lnTo>
                  <a:pt x="1139" y="189"/>
                </a:lnTo>
                <a:lnTo>
                  <a:pt x="1057" y="316"/>
                </a:lnTo>
                <a:lnTo>
                  <a:pt x="963" y="466"/>
                </a:lnTo>
                <a:lnTo>
                  <a:pt x="857" y="632"/>
                </a:lnTo>
                <a:lnTo>
                  <a:pt x="744" y="810"/>
                </a:lnTo>
                <a:lnTo>
                  <a:pt x="627" y="992"/>
                </a:lnTo>
                <a:lnTo>
                  <a:pt x="511" y="1175"/>
                </a:lnTo>
                <a:lnTo>
                  <a:pt x="398" y="1352"/>
                </a:lnTo>
                <a:lnTo>
                  <a:pt x="293" y="1518"/>
                </a:lnTo>
                <a:lnTo>
                  <a:pt x="198" y="1666"/>
                </a:lnTo>
                <a:lnTo>
                  <a:pt x="118" y="1792"/>
                </a:lnTo>
                <a:lnTo>
                  <a:pt x="56" y="1890"/>
                </a:lnTo>
                <a:lnTo>
                  <a:pt x="15" y="1953"/>
                </a:lnTo>
                <a:lnTo>
                  <a:pt x="0" y="1978"/>
                </a:lnTo>
                <a:lnTo>
                  <a:pt x="0" y="2528"/>
                </a:lnTo>
                <a:lnTo>
                  <a:pt x="1397" y="2528"/>
                </a:lnTo>
                <a:lnTo>
                  <a:pt x="1397" y="3141"/>
                </a:lnTo>
                <a:lnTo>
                  <a:pt x="1982" y="3141"/>
                </a:lnTo>
                <a:lnTo>
                  <a:pt x="1982" y="2528"/>
                </a:lnTo>
                <a:lnTo>
                  <a:pt x="2367" y="2528"/>
                </a:lnTo>
                <a:lnTo>
                  <a:pt x="2570" y="1925"/>
                </a:lnTo>
                <a:lnTo>
                  <a:pt x="1982" y="1925"/>
                </a:lnTo>
                <a:lnTo>
                  <a:pt x="1982" y="1307"/>
                </a:lnTo>
                <a:lnTo>
                  <a:pt x="1397" y="1307"/>
                </a:lnTo>
                <a:lnTo>
                  <a:pt x="1397" y="1925"/>
                </a:lnTo>
                <a:lnTo>
                  <a:pt x="707" y="1925"/>
                </a:lnTo>
                <a:lnTo>
                  <a:pt x="727" y="1892"/>
                </a:lnTo>
                <a:lnTo>
                  <a:pt x="767" y="1828"/>
                </a:lnTo>
                <a:lnTo>
                  <a:pt x="823" y="1737"/>
                </a:lnTo>
                <a:lnTo>
                  <a:pt x="895" y="1624"/>
                </a:lnTo>
                <a:lnTo>
                  <a:pt x="978" y="1493"/>
                </a:lnTo>
                <a:lnTo>
                  <a:pt x="1070" y="1347"/>
                </a:lnTo>
                <a:lnTo>
                  <a:pt x="1169" y="1191"/>
                </a:lnTo>
                <a:lnTo>
                  <a:pt x="1273" y="1029"/>
                </a:lnTo>
                <a:lnTo>
                  <a:pt x="1377" y="864"/>
                </a:lnTo>
                <a:lnTo>
                  <a:pt x="1479" y="702"/>
                </a:lnTo>
                <a:lnTo>
                  <a:pt x="1578" y="545"/>
                </a:lnTo>
                <a:lnTo>
                  <a:pt x="1672" y="399"/>
                </a:lnTo>
                <a:lnTo>
                  <a:pt x="1755" y="268"/>
                </a:lnTo>
                <a:lnTo>
                  <a:pt x="1827" y="155"/>
                </a:lnTo>
                <a:lnTo>
                  <a:pt x="1885" y="64"/>
                </a:lnTo>
                <a:lnTo>
                  <a:pt x="1926" y="0"/>
                </a:lnTo>
                <a:lnTo>
                  <a:pt x="1260" y="0"/>
                </a:lnTo>
                <a:close/>
              </a:path>
            </a:pathLst>
          </a:custGeom>
          <a:solidFill>
            <a:srgbClr val="FC1921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360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151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30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453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60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863" indent="-34286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870" indent="-285719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878" indent="-228576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028" indent="-22857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180" indent="-22857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33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48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63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784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2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3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4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5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6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7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8" algn="l" defTabSz="9143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4082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2375755" y="6213280"/>
            <a:ext cx="4392488" cy="424722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333399">
                    <a:lumMod val="75000"/>
                  </a:srgbClr>
                </a:solidFill>
              </a:rPr>
              <a:t>г. Омск, </a:t>
            </a:r>
          </a:p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333399">
                    <a:lumMod val="75000"/>
                  </a:srgbClr>
                </a:solidFill>
              </a:rPr>
              <a:t>2015г.</a:t>
            </a:r>
            <a:endParaRPr lang="ru-RU" sz="1200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7" name="Заголовок 4"/>
          <p:cNvSpPr txBox="1">
            <a:spLocks/>
          </p:cNvSpPr>
          <p:nvPr/>
        </p:nvSpPr>
        <p:spPr>
          <a:xfrm>
            <a:off x="6995156" y="1160537"/>
            <a:ext cx="1713359" cy="280988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kern="0" dirty="0" smtClean="0">
                <a:solidFill>
                  <a:srgbClr val="2D2D8A">
                    <a:lumMod val="75000"/>
                  </a:srgbClr>
                </a:solidFill>
                <a:ea typeface="+mj-ea"/>
                <a:cs typeface="+mj-cs"/>
              </a:rPr>
              <a:t>Большое</a:t>
            </a:r>
            <a:r>
              <a:rPr lang="ru-RU" sz="900" b="1" kern="0" dirty="0" smtClean="0">
                <a:solidFill>
                  <a:srgbClr val="000000"/>
                </a:solidFill>
                <a:ea typeface="+mj-ea"/>
                <a:cs typeface="+mj-cs"/>
              </a:rPr>
              <a:t> </a:t>
            </a:r>
            <a:r>
              <a:rPr lang="ru-RU" sz="900" b="1" kern="0" dirty="0" smtClean="0">
                <a:solidFill>
                  <a:srgbClr val="FF0000"/>
                </a:solidFill>
                <a:ea typeface="+mj-ea"/>
                <a:cs typeface="+mj-cs"/>
              </a:rPr>
              <a:t>преимущество</a:t>
            </a:r>
            <a:endParaRPr lang="ru-RU" sz="900" b="1" kern="0" dirty="0">
              <a:solidFill>
                <a:srgbClr val="FF0000"/>
              </a:solidFill>
              <a:ea typeface="+mj-ea"/>
              <a:cs typeface="+mj-cs"/>
            </a:endParaRPr>
          </a:p>
        </p:txBody>
      </p:sp>
      <p:pic>
        <p:nvPicPr>
          <p:cNvPr id="1028" name="Picture 4" descr="http://portal.vtb24.ru/divisions/head_office/dik/PublishingImages/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869160"/>
            <a:ext cx="9144000" cy="198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9755" y="116632"/>
            <a:ext cx="4572000" cy="60478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>
                <a:solidFill>
                  <a:srgbClr val="000066"/>
                </a:solidFill>
              </a:rPr>
              <a:t>Изменение условий по ипотечному</a:t>
            </a:r>
          </a:p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>
                <a:solidFill>
                  <a:srgbClr val="000066"/>
                </a:solidFill>
              </a:rPr>
              <a:t>кредитованию </a:t>
            </a:r>
            <a:r>
              <a:rPr lang="ru-RU" b="1" dirty="0" smtClean="0">
                <a:solidFill>
                  <a:srgbClr val="000066"/>
                </a:solidFill>
              </a:rPr>
              <a:t>ВТБ</a:t>
            </a:r>
            <a:r>
              <a:rPr lang="ru-RU" b="1" dirty="0" smtClean="0">
                <a:solidFill>
                  <a:srgbClr val="FC1921"/>
                </a:solidFill>
              </a:rPr>
              <a:t>24 </a:t>
            </a:r>
            <a:r>
              <a:rPr lang="ru-RU" b="1" dirty="0" smtClean="0">
                <a:solidFill>
                  <a:srgbClr val="000066"/>
                </a:solidFill>
              </a:rPr>
              <a:t>с </a:t>
            </a:r>
            <a:r>
              <a:rPr lang="ru-RU" b="1" dirty="0" smtClean="0">
                <a:solidFill>
                  <a:srgbClr val="000066"/>
                </a:solidFill>
              </a:rPr>
              <a:t>07.06.2017г</a:t>
            </a:r>
            <a:r>
              <a:rPr lang="ru-RU" b="1" dirty="0">
                <a:solidFill>
                  <a:srgbClr val="000066"/>
                </a:solidFill>
              </a:rPr>
              <a:t>.  </a:t>
            </a:r>
          </a:p>
        </p:txBody>
      </p:sp>
      <p:sp>
        <p:nvSpPr>
          <p:cNvPr id="8" name="Стрелка вправо 7"/>
          <p:cNvSpPr/>
          <p:nvPr/>
        </p:nvSpPr>
        <p:spPr bwMode="auto">
          <a:xfrm>
            <a:off x="179511" y="800071"/>
            <a:ext cx="2880319" cy="990677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Снижение ставок 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3086128" y="951805"/>
            <a:ext cx="3396633" cy="698451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84AAD4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Ипотека. Готовое жилье/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Стройка</a:t>
            </a:r>
            <a:endParaRPr lang="ru-RU" sz="2000" b="1" dirty="0" smtClean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2" name="Стрелка вправо 11"/>
          <p:cNvSpPr/>
          <p:nvPr/>
        </p:nvSpPr>
        <p:spPr bwMode="auto">
          <a:xfrm>
            <a:off x="165956" y="1801324"/>
            <a:ext cx="2880319" cy="979864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Б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азовая </a:t>
            </a: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процентная</a:t>
            </a:r>
            <a:r>
              <a:rPr kumimoji="0" lang="ru-RU" sz="1400" b="1" i="0" u="none" strike="noStrike" cap="none" normalizeH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 </a:t>
            </a:r>
          </a:p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ставка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3131841" y="1949884"/>
            <a:ext cx="936104" cy="604200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1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1" name="Стрелка вправо 10"/>
          <p:cNvSpPr/>
          <p:nvPr/>
        </p:nvSpPr>
        <p:spPr bwMode="auto">
          <a:xfrm>
            <a:off x="219364" y="2780842"/>
            <a:ext cx="2866764" cy="1026311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дисконт 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партнера (</a:t>
            </a:r>
            <a:r>
              <a:rPr lang="en-US" sz="1400" b="1" dirty="0" smtClean="0">
                <a:solidFill>
                  <a:srgbClr val="003366"/>
                </a:solidFill>
                <a:latin typeface="Arial" charset="0"/>
              </a:rPr>
              <a:t>&lt;65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 </a:t>
            </a:r>
            <a:r>
              <a:rPr lang="ru-RU" sz="1400" b="1" dirty="0" err="1" smtClean="0">
                <a:solidFill>
                  <a:srgbClr val="003366"/>
                </a:solidFill>
                <a:latin typeface="Arial" charset="0"/>
              </a:rPr>
              <a:t>кв.м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.) </a:t>
            </a:r>
            <a:endParaRPr lang="ru-RU" sz="1400" b="1" dirty="0" smtClean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3121009" y="3019964"/>
            <a:ext cx="1150971" cy="548757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- </a:t>
            </a: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0,3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5" name="Стрелка вправо 14"/>
          <p:cNvSpPr/>
          <p:nvPr/>
        </p:nvSpPr>
        <p:spPr bwMode="auto">
          <a:xfrm>
            <a:off x="4379365" y="2726824"/>
            <a:ext cx="2423158" cy="1135035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ставка для клиента </a:t>
            </a:r>
          </a:p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партнера 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6995156" y="2904556"/>
            <a:ext cx="1172479" cy="725719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0,7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6360837" y="1756764"/>
            <a:ext cx="2696355" cy="990440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FF0000"/>
                </a:solidFill>
                <a:latin typeface="Arial" charset="0"/>
              </a:rPr>
              <a:t>ПВ – </a:t>
            </a:r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5% + МСК</a:t>
            </a:r>
            <a:endParaRPr lang="ru-RU" sz="2000" b="1" dirty="0">
              <a:solidFill>
                <a:srgbClr val="FF0000"/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ПВ – 10% для ЗП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FF0000"/>
                </a:solidFill>
                <a:latin typeface="Arial" charset="0"/>
              </a:rPr>
              <a:t>ПВ – </a:t>
            </a:r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15% </a:t>
            </a:r>
            <a:r>
              <a:rPr lang="ru-RU" sz="2000" b="1" dirty="0">
                <a:solidFill>
                  <a:srgbClr val="FF0000"/>
                </a:solidFill>
                <a:latin typeface="Arial" charset="0"/>
              </a:rPr>
              <a:t>для </a:t>
            </a:r>
            <a:r>
              <a:rPr lang="ru-RU" sz="2000" b="1" dirty="0" smtClean="0">
                <a:solidFill>
                  <a:srgbClr val="FF0000"/>
                </a:solidFill>
                <a:latin typeface="Arial" charset="0"/>
              </a:rPr>
              <a:t>всех</a:t>
            </a:r>
          </a:p>
        </p:txBody>
      </p:sp>
      <p:sp>
        <p:nvSpPr>
          <p:cNvPr id="18" name="Стрелка вправо 17"/>
          <p:cNvSpPr/>
          <p:nvPr/>
        </p:nvSpPr>
        <p:spPr bwMode="auto">
          <a:xfrm>
            <a:off x="214987" y="3807499"/>
            <a:ext cx="2866764" cy="1026311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дисконт </a:t>
            </a: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партнера 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(</a:t>
            </a:r>
            <a:r>
              <a:rPr lang="en-US" sz="1400" b="1" dirty="0" smtClean="0">
                <a:solidFill>
                  <a:srgbClr val="003366"/>
                </a:solidFill>
                <a:latin typeface="Arial" charset="0"/>
              </a:rPr>
              <a:t>&gt;65</a:t>
            </a: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 </a:t>
            </a:r>
            <a:r>
              <a:rPr lang="ru-RU" sz="1400" b="1" dirty="0" err="1">
                <a:solidFill>
                  <a:srgbClr val="003366"/>
                </a:solidFill>
                <a:latin typeface="Arial" charset="0"/>
              </a:rPr>
              <a:t>кв.м</a:t>
            </a: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.) </a:t>
            </a:r>
            <a:endParaRPr lang="ru-RU" sz="1400" b="1" dirty="0" smtClean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3142143" y="4168296"/>
            <a:ext cx="1129837" cy="556848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- </a:t>
            </a:r>
            <a:r>
              <a:rPr lang="en-US" sz="3000" b="1" dirty="0" smtClean="0">
                <a:solidFill>
                  <a:srgbClr val="FF0000"/>
                </a:solidFill>
                <a:latin typeface="Arial" charset="0"/>
              </a:rPr>
              <a:t>1</a:t>
            </a: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20" name="Стрелка вправо 19"/>
          <p:cNvSpPr/>
          <p:nvPr/>
        </p:nvSpPr>
        <p:spPr bwMode="auto">
          <a:xfrm>
            <a:off x="4400499" y="3874598"/>
            <a:ext cx="2423158" cy="1124667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ставка для клиента </a:t>
            </a:r>
          </a:p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партнера 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7016290" y="4120601"/>
            <a:ext cx="1172479" cy="725719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0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89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93328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2375755" y="6213280"/>
            <a:ext cx="4392488" cy="424722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333399">
                    <a:lumMod val="75000"/>
                  </a:srgbClr>
                </a:solidFill>
              </a:rPr>
              <a:t>г. Омск, </a:t>
            </a:r>
          </a:p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333399">
                    <a:lumMod val="75000"/>
                  </a:srgbClr>
                </a:solidFill>
              </a:rPr>
              <a:t>2015г.</a:t>
            </a:r>
            <a:endParaRPr lang="ru-RU" sz="1200" dirty="0">
              <a:solidFill>
                <a:srgbClr val="333399">
                  <a:lumMod val="75000"/>
                </a:srgbClr>
              </a:solidFill>
            </a:endParaRPr>
          </a:p>
        </p:txBody>
      </p:sp>
      <p:sp>
        <p:nvSpPr>
          <p:cNvPr id="7" name="Заголовок 4"/>
          <p:cNvSpPr txBox="1">
            <a:spLocks/>
          </p:cNvSpPr>
          <p:nvPr/>
        </p:nvSpPr>
        <p:spPr>
          <a:xfrm>
            <a:off x="6995156" y="1160537"/>
            <a:ext cx="1713359" cy="280988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kern="0" dirty="0" smtClean="0">
                <a:solidFill>
                  <a:srgbClr val="2D2D8A">
                    <a:lumMod val="75000"/>
                  </a:srgbClr>
                </a:solidFill>
                <a:ea typeface="+mj-ea"/>
                <a:cs typeface="+mj-cs"/>
              </a:rPr>
              <a:t>Большое</a:t>
            </a:r>
            <a:r>
              <a:rPr lang="ru-RU" sz="900" b="1" kern="0" dirty="0" smtClean="0">
                <a:solidFill>
                  <a:srgbClr val="000000"/>
                </a:solidFill>
                <a:ea typeface="+mj-ea"/>
                <a:cs typeface="+mj-cs"/>
              </a:rPr>
              <a:t> </a:t>
            </a:r>
            <a:r>
              <a:rPr lang="ru-RU" sz="900" b="1" kern="0" dirty="0" smtClean="0">
                <a:solidFill>
                  <a:srgbClr val="FF0000"/>
                </a:solidFill>
                <a:ea typeface="+mj-ea"/>
                <a:cs typeface="+mj-cs"/>
              </a:rPr>
              <a:t>преимущество</a:t>
            </a:r>
            <a:endParaRPr lang="ru-RU" sz="900" b="1" kern="0" dirty="0">
              <a:solidFill>
                <a:srgbClr val="FF0000"/>
              </a:solidFill>
              <a:ea typeface="+mj-ea"/>
              <a:cs typeface="+mj-cs"/>
            </a:endParaRPr>
          </a:p>
        </p:txBody>
      </p:sp>
      <p:pic>
        <p:nvPicPr>
          <p:cNvPr id="1028" name="Picture 4" descr="http://portal.vtb24.ru/divisions/head_office/dik/PublishingImages/1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869160"/>
            <a:ext cx="9144000" cy="198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9754" y="116632"/>
            <a:ext cx="8802725" cy="604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>
                <a:solidFill>
                  <a:srgbClr val="000066"/>
                </a:solidFill>
              </a:rPr>
              <a:t>Изменение условий по ипотечному</a:t>
            </a:r>
          </a:p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>
                <a:solidFill>
                  <a:srgbClr val="000066"/>
                </a:solidFill>
              </a:rPr>
              <a:t>кредитованию </a:t>
            </a:r>
            <a:r>
              <a:rPr lang="ru-RU" b="1" dirty="0" smtClean="0">
                <a:solidFill>
                  <a:srgbClr val="000066"/>
                </a:solidFill>
              </a:rPr>
              <a:t>ВТБ</a:t>
            </a:r>
            <a:r>
              <a:rPr lang="ru-RU" b="1" dirty="0" smtClean="0">
                <a:solidFill>
                  <a:srgbClr val="FC1921"/>
                </a:solidFill>
              </a:rPr>
              <a:t>24 </a:t>
            </a:r>
            <a:r>
              <a:rPr lang="ru-RU" b="1" dirty="0" smtClean="0">
                <a:solidFill>
                  <a:srgbClr val="000066"/>
                </a:solidFill>
              </a:rPr>
              <a:t>с </a:t>
            </a:r>
            <a:r>
              <a:rPr lang="ru-RU" b="1" dirty="0" smtClean="0">
                <a:solidFill>
                  <a:srgbClr val="000066"/>
                </a:solidFill>
              </a:rPr>
              <a:t>07.06. </a:t>
            </a:r>
            <a:r>
              <a:rPr lang="ru-RU" b="1" dirty="0" smtClean="0">
                <a:solidFill>
                  <a:srgbClr val="000066"/>
                </a:solidFill>
              </a:rPr>
              <a:t>2017г</a:t>
            </a:r>
            <a:r>
              <a:rPr lang="ru-RU" b="1" dirty="0">
                <a:solidFill>
                  <a:srgbClr val="000066"/>
                </a:solidFill>
              </a:rPr>
              <a:t>.  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179511" y="910479"/>
            <a:ext cx="5850397" cy="390552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84AAD4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Рефинансирование кредитов других банков</a:t>
            </a:r>
            <a:endParaRPr lang="ru-RU" sz="2000" b="1" dirty="0" smtClean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2" name="Стрелка вправо 11"/>
          <p:cNvSpPr/>
          <p:nvPr/>
        </p:nvSpPr>
        <p:spPr bwMode="auto">
          <a:xfrm>
            <a:off x="179511" y="1412537"/>
            <a:ext cx="2991998" cy="936343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Базовая процентная 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ставка</a:t>
            </a:r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3329274" y="1515273"/>
            <a:ext cx="1026702" cy="723525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1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7" name="Стрелка вправо 16"/>
          <p:cNvSpPr/>
          <p:nvPr/>
        </p:nvSpPr>
        <p:spPr bwMode="auto">
          <a:xfrm>
            <a:off x="212696" y="2518751"/>
            <a:ext cx="2991997" cy="982257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Ставка для зарплатного</a:t>
            </a:r>
          </a:p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клиента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3358430" y="2715302"/>
            <a:ext cx="1183861" cy="651913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0,7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4978929" y="1956239"/>
            <a:ext cx="2185357" cy="1125025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84AAD4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+ 0,5% </a:t>
            </a:r>
            <a:endParaRPr lang="ru-RU" sz="2000" b="1" dirty="0">
              <a:solidFill>
                <a:srgbClr val="003366"/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к ставке по Победе 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над формальностями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212697" y="3573016"/>
            <a:ext cx="5223400" cy="390552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84AAD4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Нецелевой кредит под залог квартиры</a:t>
            </a:r>
            <a:endParaRPr lang="ru-RU" sz="2000" b="1" dirty="0" smtClean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6" name="Стрелка вправо 15"/>
          <p:cNvSpPr/>
          <p:nvPr/>
        </p:nvSpPr>
        <p:spPr bwMode="auto">
          <a:xfrm>
            <a:off x="212697" y="3963568"/>
            <a:ext cx="2991998" cy="936343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Базовая процентная 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3366"/>
                </a:solidFill>
                <a:latin typeface="Arial" charset="0"/>
              </a:rPr>
              <a:t>ставка</a:t>
            </a:r>
          </a:p>
        </p:txBody>
      </p:sp>
      <p:sp>
        <p:nvSpPr>
          <p:cNvPr id="22" name="Скругленный прямоугольник 21"/>
          <p:cNvSpPr/>
          <p:nvPr/>
        </p:nvSpPr>
        <p:spPr bwMode="auto">
          <a:xfrm>
            <a:off x="3388136" y="4145635"/>
            <a:ext cx="1026702" cy="723525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2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23" name="Стрелка вправо 22"/>
          <p:cNvSpPr/>
          <p:nvPr/>
        </p:nvSpPr>
        <p:spPr bwMode="auto">
          <a:xfrm>
            <a:off x="4542291" y="3963568"/>
            <a:ext cx="1565898" cy="936343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3366"/>
                </a:solidFill>
                <a:latin typeface="Arial" charset="0"/>
              </a:rPr>
              <a:t>Срок кредита</a:t>
            </a:r>
            <a:endParaRPr lang="ru-RU" sz="1400" b="1" dirty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6254892" y="4176387"/>
            <a:ext cx="1778451" cy="548758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500" b="1" dirty="0" smtClean="0">
                <a:solidFill>
                  <a:srgbClr val="FF0000"/>
                </a:solidFill>
                <a:latin typeface="Arial" charset="0"/>
              </a:rPr>
              <a:t>До 20 лет</a:t>
            </a:r>
            <a:endParaRPr kumimoji="0" lang="ru-RU" sz="25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90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23314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4"/>
          <p:cNvSpPr txBox="1">
            <a:spLocks/>
          </p:cNvSpPr>
          <p:nvPr/>
        </p:nvSpPr>
        <p:spPr>
          <a:xfrm>
            <a:off x="6995156" y="1160537"/>
            <a:ext cx="1713359" cy="280988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kern="0" dirty="0" smtClean="0">
                <a:solidFill>
                  <a:srgbClr val="2D2D8A">
                    <a:lumMod val="75000"/>
                  </a:srgbClr>
                </a:solidFill>
                <a:ea typeface="+mj-ea"/>
                <a:cs typeface="+mj-cs"/>
              </a:rPr>
              <a:t>Большое</a:t>
            </a:r>
            <a:r>
              <a:rPr lang="ru-RU" sz="900" b="1" kern="0" dirty="0" smtClean="0">
                <a:solidFill>
                  <a:srgbClr val="000000"/>
                </a:solidFill>
                <a:ea typeface="+mj-ea"/>
                <a:cs typeface="+mj-cs"/>
              </a:rPr>
              <a:t> </a:t>
            </a:r>
            <a:r>
              <a:rPr lang="ru-RU" sz="900" b="1" kern="0" dirty="0" smtClean="0">
                <a:solidFill>
                  <a:srgbClr val="FF0000"/>
                </a:solidFill>
                <a:ea typeface="+mj-ea"/>
                <a:cs typeface="+mj-cs"/>
              </a:rPr>
              <a:t>преимущество</a:t>
            </a:r>
            <a:endParaRPr lang="ru-RU" sz="900" b="1" kern="0" dirty="0">
              <a:solidFill>
                <a:srgbClr val="FF0000"/>
              </a:solidFill>
              <a:ea typeface="+mj-ea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9017" y="146178"/>
            <a:ext cx="801063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 smtClean="0">
                <a:solidFill>
                  <a:srgbClr val="000066"/>
                </a:solidFill>
              </a:rPr>
              <a:t>Победа над формальностями – ипотека по </a:t>
            </a:r>
            <a:r>
              <a:rPr lang="ru-RU" b="1" dirty="0" smtClean="0">
                <a:solidFill>
                  <a:srgbClr val="FF0000"/>
                </a:solidFill>
              </a:rPr>
              <a:t>2-м </a:t>
            </a:r>
            <a:r>
              <a:rPr lang="ru-RU" b="1" dirty="0" smtClean="0">
                <a:solidFill>
                  <a:srgbClr val="000066"/>
                </a:solidFill>
              </a:rPr>
              <a:t>документам </a:t>
            </a:r>
            <a:endParaRPr lang="ru-RU" b="1" dirty="0">
              <a:solidFill>
                <a:srgbClr val="000066"/>
              </a:solidFill>
            </a:endParaRPr>
          </a:p>
        </p:txBody>
      </p:sp>
      <p:sp>
        <p:nvSpPr>
          <p:cNvPr id="8" name="Стрелка вправо 7"/>
          <p:cNvSpPr/>
          <p:nvPr/>
        </p:nvSpPr>
        <p:spPr bwMode="auto">
          <a:xfrm>
            <a:off x="191459" y="1090899"/>
            <a:ext cx="2880320" cy="1329989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     продукты, </a:t>
            </a:r>
          </a:p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на которые распространяется  </a:t>
            </a:r>
          </a:p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программа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3658478" y="1441525"/>
            <a:ext cx="5184576" cy="619323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noFill/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300" b="1" dirty="0" smtClean="0">
                <a:solidFill>
                  <a:srgbClr val="003366"/>
                </a:solidFill>
                <a:latin typeface="Arial" charset="0"/>
              </a:rPr>
              <a:t>Ипотека. Готовое жилье </a:t>
            </a: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13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Ипотека. Строящееся жилье </a:t>
            </a:r>
            <a:r>
              <a:rPr lang="ru-RU" sz="1300" b="1" dirty="0">
                <a:solidFill>
                  <a:srgbClr val="003366"/>
                </a:solidFill>
                <a:latin typeface="Arial" charset="0"/>
              </a:rPr>
              <a:t>(в том числе </a:t>
            </a:r>
            <a:r>
              <a:rPr lang="ru-RU" sz="1300" b="1" dirty="0" smtClean="0">
                <a:solidFill>
                  <a:srgbClr val="003366"/>
                </a:solidFill>
                <a:latin typeface="Arial" charset="0"/>
              </a:rPr>
              <a:t>на покупку ЖСК</a:t>
            </a:r>
            <a:r>
              <a:rPr lang="ru-RU" sz="1200" b="1" dirty="0" smtClean="0">
                <a:solidFill>
                  <a:srgbClr val="003366"/>
                </a:solidFill>
                <a:latin typeface="Arial" charset="0"/>
              </a:rPr>
              <a:t>)</a:t>
            </a:r>
            <a:endParaRPr lang="ru-RU" sz="1200" b="1" dirty="0">
              <a:solidFill>
                <a:srgbClr val="003366"/>
              </a:solidFill>
              <a:latin typeface="Arial" charset="0"/>
            </a:endParaRP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6296" y="5637429"/>
            <a:ext cx="1907704" cy="1220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964" y="2294364"/>
            <a:ext cx="1608595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Скругленный прямоугольник 12"/>
          <p:cNvSpPr/>
          <p:nvPr/>
        </p:nvSpPr>
        <p:spPr bwMode="auto">
          <a:xfrm>
            <a:off x="5138398" y="2532125"/>
            <a:ext cx="2264495" cy="786419"/>
          </a:xfrm>
          <a:prstGeom prst="roundRect">
            <a:avLst/>
          </a:prstGeom>
          <a:solidFill>
            <a:srgbClr val="666699">
              <a:alpha val="14000"/>
            </a:srgbClr>
          </a:solidFill>
          <a:ln w="19050" cap="flat" cmpd="sng" algn="ctr">
            <a:solidFill>
              <a:srgbClr val="FF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Не требуются</a:t>
            </a:r>
            <a:r>
              <a:rPr kumimoji="0" lang="ru-RU" sz="1200" b="1" i="0" u="none" strike="noStrike" cap="none" normalizeH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 документы:</a:t>
            </a: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b="1" baseline="0" dirty="0" smtClean="0">
                <a:solidFill>
                  <a:srgbClr val="003366"/>
                </a:solidFill>
                <a:latin typeface="Arial" charset="0"/>
              </a:rPr>
              <a:t>Подтверждающие</a:t>
            </a:r>
            <a:r>
              <a:rPr lang="ru-RU" sz="1200" b="1" dirty="0" smtClean="0">
                <a:solidFill>
                  <a:srgbClr val="003366"/>
                </a:solidFill>
                <a:latin typeface="Arial" charset="0"/>
              </a:rPr>
              <a:t> доход</a:t>
            </a:r>
            <a:endParaRPr lang="ru-RU" sz="1200" b="1" dirty="0">
              <a:solidFill>
                <a:srgbClr val="003366"/>
              </a:solidFill>
              <a:latin typeface="Arial" charset="0"/>
            </a:endParaRP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b="1" dirty="0" smtClean="0">
                <a:solidFill>
                  <a:srgbClr val="003366"/>
                </a:solidFill>
                <a:latin typeface="Arial" charset="0"/>
              </a:rPr>
              <a:t>трудоустройство</a:t>
            </a:r>
          </a:p>
        </p:txBody>
      </p:sp>
      <p:sp>
        <p:nvSpPr>
          <p:cNvPr id="15" name="Плюс 14"/>
          <p:cNvSpPr/>
          <p:nvPr/>
        </p:nvSpPr>
        <p:spPr bwMode="auto">
          <a:xfrm>
            <a:off x="1935399" y="2632385"/>
            <a:ext cx="504056" cy="542738"/>
          </a:xfrm>
          <a:prstGeom prst="mathPlus">
            <a:avLst/>
          </a:prstGeom>
          <a:solidFill>
            <a:srgbClr val="0070C0"/>
          </a:solidFill>
          <a:ln w="19050" cap="flat" cmpd="sng" algn="ctr">
            <a:noFill/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376" y="2473275"/>
            <a:ext cx="1226069" cy="861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Равно 15"/>
          <p:cNvSpPr/>
          <p:nvPr/>
        </p:nvSpPr>
        <p:spPr bwMode="auto">
          <a:xfrm>
            <a:off x="4234593" y="2632699"/>
            <a:ext cx="864096" cy="542424"/>
          </a:xfrm>
          <a:prstGeom prst="mathEqual">
            <a:avLst/>
          </a:prstGeom>
          <a:solidFill>
            <a:srgbClr val="0070C0"/>
          </a:solidFill>
          <a:ln w="19050" cap="flat" cmpd="sng" algn="ctr">
            <a:noFill/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3136284" y="3854273"/>
            <a:ext cx="1443284" cy="1125025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84AAD4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+ 0,5% </a:t>
            </a:r>
            <a:endParaRPr lang="ru-RU" sz="2000" b="1" dirty="0">
              <a:solidFill>
                <a:srgbClr val="003366"/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к %ставке</a:t>
            </a:r>
          </a:p>
        </p:txBody>
      </p:sp>
      <p:sp>
        <p:nvSpPr>
          <p:cNvPr id="25" name="Стрелка вправо 24"/>
          <p:cNvSpPr/>
          <p:nvPr/>
        </p:nvSpPr>
        <p:spPr bwMode="auto">
          <a:xfrm>
            <a:off x="197219" y="3741411"/>
            <a:ext cx="2880320" cy="1350747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  процентная ставка</a:t>
            </a:r>
          </a:p>
        </p:txBody>
      </p:sp>
      <p:sp>
        <p:nvSpPr>
          <p:cNvPr id="17" name="Стрелка вправо 16"/>
          <p:cNvSpPr/>
          <p:nvPr/>
        </p:nvSpPr>
        <p:spPr bwMode="auto">
          <a:xfrm>
            <a:off x="4633712" y="3632319"/>
            <a:ext cx="2785679" cy="741710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3366"/>
                </a:solidFill>
                <a:latin typeface="Arial" charset="0"/>
              </a:rPr>
              <a:t>&gt;65 </a:t>
            </a:r>
            <a:r>
              <a:rPr lang="ru-RU" sz="2000" b="1" dirty="0" err="1">
                <a:solidFill>
                  <a:srgbClr val="003366"/>
                </a:solidFill>
                <a:latin typeface="Arial" charset="0"/>
              </a:rPr>
              <a:t>кв.м</a:t>
            </a:r>
            <a:r>
              <a:rPr lang="ru-RU" sz="2000" b="1" dirty="0" smtClean="0">
                <a:solidFill>
                  <a:srgbClr val="003366"/>
                </a:solidFill>
                <a:latin typeface="Arial" charset="0"/>
              </a:rPr>
              <a:t>.</a:t>
            </a:r>
            <a:endParaRPr lang="ru-RU" sz="2000" b="1" dirty="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7553739" y="3472896"/>
            <a:ext cx="1305813" cy="776487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0,5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19" name="Стрелка вправо 18"/>
          <p:cNvSpPr/>
          <p:nvPr/>
        </p:nvSpPr>
        <p:spPr bwMode="auto">
          <a:xfrm>
            <a:off x="4633712" y="4520751"/>
            <a:ext cx="2785679" cy="741710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3366"/>
                </a:solidFill>
                <a:latin typeface="Arial" charset="0"/>
              </a:rPr>
              <a:t>&lt;65 </a:t>
            </a:r>
            <a:r>
              <a:rPr lang="ru-RU" sz="2000" b="1" dirty="0" err="1">
                <a:solidFill>
                  <a:srgbClr val="003366"/>
                </a:solidFill>
                <a:latin typeface="Arial" charset="0"/>
              </a:rPr>
              <a:t>кв.м</a:t>
            </a:r>
            <a:r>
              <a:rPr lang="ru-RU" sz="2000" b="1" dirty="0">
                <a:solidFill>
                  <a:srgbClr val="003366"/>
                </a:solidFill>
                <a:latin typeface="Arial" charset="0"/>
              </a:rPr>
              <a:t>.</a:t>
            </a: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7553740" y="4485972"/>
            <a:ext cx="1305812" cy="776487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3000" b="1" dirty="0" smtClean="0">
                <a:solidFill>
                  <a:srgbClr val="FF0000"/>
                </a:solidFill>
                <a:latin typeface="Arial" charset="0"/>
              </a:rPr>
              <a:t>11,2%</a:t>
            </a:r>
            <a:endParaRPr kumimoji="0" lang="ru-RU" sz="3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3337410" y="5612129"/>
            <a:ext cx="1090574" cy="913214"/>
          </a:xfrm>
          <a:prstGeom prst="roundRect">
            <a:avLst/>
          </a:prstGeom>
          <a:solidFill>
            <a:srgbClr val="666699">
              <a:alpha val="14000"/>
            </a:srgbClr>
          </a:solidFill>
          <a:ln w="19050" cap="flat" cmpd="sng" algn="ctr">
            <a:solidFill>
              <a:srgbClr val="FF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от 40%</a:t>
            </a:r>
            <a:endParaRPr kumimoji="0" lang="ru-RU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22" name="Стрелка вправо 21"/>
          <p:cNvSpPr/>
          <p:nvPr/>
        </p:nvSpPr>
        <p:spPr bwMode="auto">
          <a:xfrm>
            <a:off x="236833" y="5398663"/>
            <a:ext cx="2880320" cy="1340147"/>
          </a:xfrm>
          <a:prstGeom prst="rightArrow">
            <a:avLst/>
          </a:prstGeom>
          <a:solidFill>
            <a:srgbClr val="84AAD4">
              <a:alpha val="45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rgbClr val="003366"/>
                </a:solidFill>
                <a:effectLst/>
                <a:latin typeface="Arial" charset="0"/>
              </a:rPr>
              <a:t>  первый взнос</a:t>
            </a:r>
          </a:p>
        </p:txBody>
      </p:sp>
    </p:spTree>
    <p:extLst>
      <p:ext uri="{BB962C8B-B14F-4D97-AF65-F5344CB8AC3E}">
        <p14:creationId xmlns:p14="http://schemas.microsoft.com/office/powerpoint/2010/main" val="1781076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467627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4"/>
          <p:cNvSpPr txBox="1">
            <a:spLocks/>
          </p:cNvSpPr>
          <p:nvPr/>
        </p:nvSpPr>
        <p:spPr>
          <a:xfrm>
            <a:off x="6995156" y="1160537"/>
            <a:ext cx="1713359" cy="280988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kern="0" dirty="0" smtClean="0">
                <a:solidFill>
                  <a:srgbClr val="2D2D8A">
                    <a:lumMod val="75000"/>
                  </a:srgbClr>
                </a:solidFill>
                <a:ea typeface="+mj-ea"/>
                <a:cs typeface="+mj-cs"/>
              </a:rPr>
              <a:t>Большое</a:t>
            </a:r>
            <a:r>
              <a:rPr lang="ru-RU" sz="900" b="1" kern="0" dirty="0" smtClean="0">
                <a:solidFill>
                  <a:srgbClr val="000000"/>
                </a:solidFill>
                <a:ea typeface="+mj-ea"/>
                <a:cs typeface="+mj-cs"/>
              </a:rPr>
              <a:t> </a:t>
            </a:r>
            <a:r>
              <a:rPr lang="ru-RU" sz="900" b="1" kern="0" dirty="0" smtClean="0">
                <a:solidFill>
                  <a:srgbClr val="FF0000"/>
                </a:solidFill>
                <a:ea typeface="+mj-ea"/>
                <a:cs typeface="+mj-cs"/>
              </a:rPr>
              <a:t>преимущество</a:t>
            </a:r>
            <a:endParaRPr lang="ru-RU" sz="900" b="1" kern="0" dirty="0">
              <a:solidFill>
                <a:srgbClr val="FF0000"/>
              </a:solidFill>
              <a:ea typeface="+mj-ea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9017" y="146178"/>
            <a:ext cx="801063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lnSpc>
                <a:spcPct val="90000"/>
              </a:lnSpc>
              <a:spcBef>
                <a:spcPct val="5000"/>
              </a:spcBef>
              <a:buClr>
                <a:srgbClr val="08215C"/>
              </a:buClr>
              <a:buFont typeface="Wingdings" pitchFamily="2" charset="2"/>
              <a:buNone/>
            </a:pPr>
            <a:r>
              <a:rPr lang="ru-RU" b="1" dirty="0" smtClean="0">
                <a:solidFill>
                  <a:srgbClr val="000066"/>
                </a:solidFill>
              </a:rPr>
              <a:t>Центр ипотечного кредитования ОО «Омский»</a:t>
            </a:r>
            <a:endParaRPr lang="ru-RU" b="1" dirty="0">
              <a:solidFill>
                <a:srgbClr val="000066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4388089" y="1389357"/>
            <a:ext cx="4212450" cy="217838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noFill/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ru-RU" sz="1300" b="1" dirty="0" smtClean="0">
              <a:solidFill>
                <a:srgbClr val="003366"/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300" b="1" dirty="0">
                <a:solidFill>
                  <a:srgbClr val="003366"/>
                </a:solidFill>
                <a:latin typeface="Arial" charset="0"/>
              </a:rPr>
              <a:t> </a:t>
            </a:r>
            <a:r>
              <a:rPr lang="ru-RU" sz="1300" b="1" dirty="0" smtClean="0">
                <a:solidFill>
                  <a:srgbClr val="003366"/>
                </a:solidFill>
                <a:latin typeface="Arial" charset="0"/>
              </a:rPr>
              <a:t> Менеджеры по продажам ипотечных продуктов</a:t>
            </a:r>
            <a:endParaRPr lang="ru-RU" sz="1200" b="1" dirty="0">
              <a:solidFill>
                <a:srgbClr val="003366"/>
              </a:solidFill>
              <a:latin typeface="Arial" charset="0"/>
            </a:endParaRP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5036725" y="6072367"/>
            <a:ext cx="1206959" cy="574661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Дмитрий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 Нагайник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8-913-156-82-74</a:t>
            </a:r>
          </a:p>
        </p:txBody>
      </p:sp>
      <p:pic>
        <p:nvPicPr>
          <p:cNvPr id="4101" name="Picture 5" descr="O:\ОИК Омский\Эксперт по работе с партнерами\Фото - Сотрудники банка\Дербенева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8639" y="1670994"/>
            <a:ext cx="1240468" cy="180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O:\ОИК Омский\Эксперт по работе с партнерами\Фото - Сотрудники банка\Ярковая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877" y="4256369"/>
            <a:ext cx="1305420" cy="17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Скругленный прямоугольник 22"/>
          <p:cNvSpPr/>
          <p:nvPr/>
        </p:nvSpPr>
        <p:spPr bwMode="auto">
          <a:xfrm>
            <a:off x="6644876" y="3573233"/>
            <a:ext cx="1206959" cy="500327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err="1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Алефтина</a:t>
            </a:r>
            <a:endParaRPr lang="ru-RU" sz="1100" b="1" dirty="0" smtClean="0">
              <a:solidFill>
                <a:schemeClr val="accent6">
                  <a:lumMod val="75000"/>
                </a:schemeClr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Усова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8-913-604-42-84</a:t>
            </a:r>
          </a:p>
        </p:txBody>
      </p:sp>
      <p:sp>
        <p:nvSpPr>
          <p:cNvPr id="26" name="Скругленный прямоугольник 25"/>
          <p:cNvSpPr/>
          <p:nvPr/>
        </p:nvSpPr>
        <p:spPr bwMode="auto">
          <a:xfrm>
            <a:off x="6688216" y="6072367"/>
            <a:ext cx="1206959" cy="574661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Татьяна 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Ярковая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8-906-197-12-28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latin typeface="Arial" charset="0"/>
            </a:endParaRPr>
          </a:p>
        </p:txBody>
      </p:sp>
      <p:pic>
        <p:nvPicPr>
          <p:cNvPr id="4107" name="Picture 11" descr="O:\ОИК Омский\Эксперт по работе с партнерами\Фото - Сотрудники банка\IMG_4409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046" y="1602584"/>
            <a:ext cx="1217250" cy="180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Скругленный прямоугольник 26"/>
          <p:cNvSpPr/>
          <p:nvPr/>
        </p:nvSpPr>
        <p:spPr bwMode="auto">
          <a:xfrm>
            <a:off x="109151" y="2276872"/>
            <a:ext cx="1705659" cy="388368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noFill/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ru-RU" sz="1300" b="1" dirty="0" smtClean="0">
              <a:solidFill>
                <a:srgbClr val="003366"/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300" b="1" dirty="0" smtClean="0">
                <a:solidFill>
                  <a:srgbClr val="003366"/>
                </a:solidFill>
                <a:latin typeface="Arial" charset="0"/>
              </a:rPr>
              <a:t>Начальник ЦИК</a:t>
            </a:r>
            <a:endParaRPr lang="ru-RU" sz="1200" b="1" dirty="0">
              <a:solidFill>
                <a:srgbClr val="003366"/>
              </a:solidFill>
              <a:latin typeface="Arial" charset="0"/>
            </a:endParaRPr>
          </a:p>
          <a:p>
            <a:pPr marL="171450" marR="0" indent="-17145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rgbClr val="003366"/>
              </a:solidFill>
              <a:effectLst/>
              <a:latin typeface="Arial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1952337" y="3509788"/>
            <a:ext cx="1206959" cy="563772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Ольга Петрова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8-913-602-82-84</a:t>
            </a:r>
          </a:p>
        </p:txBody>
      </p:sp>
      <p:pic>
        <p:nvPicPr>
          <p:cNvPr id="4109" name="Picture 13" descr="O:\ОИК Омский\Эксперт по работе с партнерами\Фото - Сотрудники банка\Picture 8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8638" y="4256368"/>
            <a:ext cx="1223713" cy="17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Скругленный прямоугольник 32"/>
          <p:cNvSpPr/>
          <p:nvPr/>
        </p:nvSpPr>
        <p:spPr bwMode="auto">
          <a:xfrm>
            <a:off x="5050165" y="3573233"/>
            <a:ext cx="1206959" cy="503988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Ксения 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Дербенева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8-913-604-43-20</a:t>
            </a:r>
          </a:p>
        </p:txBody>
      </p:sp>
      <p:pic>
        <p:nvPicPr>
          <p:cNvPr id="5128" name="Picture 8" descr="\\OMSK-FS\Otdels\ОИК Омский\Эксперт по работе с партнерами\Фото - Сотрудники банка\image1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3" r="10223" b="10354"/>
          <a:stretch/>
        </p:blipFill>
        <p:spPr bwMode="auto">
          <a:xfrm>
            <a:off x="2001891" y="4109823"/>
            <a:ext cx="1139803" cy="1887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Скругленный прямоугольник 17"/>
          <p:cNvSpPr/>
          <p:nvPr/>
        </p:nvSpPr>
        <p:spPr bwMode="auto">
          <a:xfrm>
            <a:off x="1968314" y="6107702"/>
            <a:ext cx="1206959" cy="539325"/>
          </a:xfrm>
          <a:prstGeom prst="roundRect">
            <a:avLst/>
          </a:prstGeom>
          <a:solidFill>
            <a:srgbClr val="84AAD4">
              <a:alpha val="38000"/>
            </a:srgbClr>
          </a:solidFill>
          <a:ln w="19050" cap="flat" cmpd="sng" algn="ctr">
            <a:solidFill>
              <a:srgbClr val="0070C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Анна</a:t>
            </a: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lang="ru-RU" sz="1100" b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Губанова</a:t>
            </a:r>
            <a:endParaRPr lang="ru-RU" sz="1100" b="1" dirty="0" smtClean="0">
              <a:solidFill>
                <a:schemeClr val="accent6">
                  <a:lumMod val="75000"/>
                </a:schemeClr>
              </a:solidFill>
              <a:latin typeface="Arial" charset="0"/>
            </a:endParaRPr>
          </a:p>
          <a:p>
            <a:pPr marR="0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Arial" charset="0"/>
              </a:rPr>
              <a:t>8-923-685-55-72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latin typeface="Arial" charset="0"/>
            </a:endParaRPr>
          </a:p>
        </p:txBody>
      </p:sp>
      <p:pic>
        <p:nvPicPr>
          <p:cNvPr id="5131" name="Picture 11" descr="\\OMSK-FS\Otdels\ОИК Омский\Эксперт по работе с партнерами\Фото - Сотрудники банка\IMG_2890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8722" y="1670993"/>
            <a:ext cx="1347238" cy="1796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972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20j2gZd0SGevLXT129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20j2gZd0SGevLXT129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666699">
            <a:alpha val="14000"/>
          </a:srgbClr>
        </a:solidFill>
        <a:ln w="19050" cap="flat" cmpd="sng" algn="ctr">
          <a:noFill/>
          <a:prstDash val="lgDash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200" b="1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666699">
            <a:alpha val="14000"/>
          </a:srgbClr>
        </a:solidFill>
        <a:ln w="19050" cap="flat" cmpd="sng" algn="ctr">
          <a:noFill/>
          <a:prstDash val="lgDash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ru-RU" sz="1200" b="1" i="0" u="none" strike="noStrike" cap="none" normalizeH="0" baseline="0" smtClean="0">
            <a:ln>
              <a:noFill/>
            </a:ln>
            <a:solidFill>
              <a:srgbClr val="0033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3</TotalTime>
  <Words>241</Words>
  <Application>Microsoft Office PowerPoint</Application>
  <PresentationFormat>Экран (4:3)</PresentationFormat>
  <Paragraphs>87</Paragraphs>
  <Slides>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7" baseType="lpstr">
      <vt:lpstr>Тема Office</vt:lpstr>
      <vt:lpstr>Оформление по умолчанию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ерещенко Валерия Игоревна</dc:creator>
  <cp:lastModifiedBy>Петрова Ольга Николаевна</cp:lastModifiedBy>
  <cp:revision>34</cp:revision>
  <dcterms:modified xsi:type="dcterms:W3CDTF">2017-06-06T09:48:16Z</dcterms:modified>
</cp:coreProperties>
</file>